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807" r:id="rId2"/>
    <p:sldId id="1064" r:id="rId3"/>
    <p:sldId id="1081" r:id="rId4"/>
    <p:sldId id="1067" r:id="rId5"/>
    <p:sldId id="1065" r:id="rId6"/>
    <p:sldId id="1068" r:id="rId7"/>
    <p:sldId id="1073" r:id="rId8"/>
    <p:sldId id="1066" r:id="rId9"/>
    <p:sldId id="1070" r:id="rId10"/>
    <p:sldId id="1030" r:id="rId11"/>
    <p:sldId id="1075" r:id="rId12"/>
    <p:sldId id="1079" r:id="rId13"/>
    <p:sldId id="1078" r:id="rId14"/>
    <p:sldId id="1076" r:id="rId15"/>
    <p:sldId id="1058" r:id="rId16"/>
    <p:sldId id="1055" r:id="rId17"/>
    <p:sldId id="1059" r:id="rId18"/>
    <p:sldId id="1061" r:id="rId19"/>
    <p:sldId id="1063" r:id="rId20"/>
    <p:sldId id="1049" r:id="rId21"/>
    <p:sldId id="1080" r:id="rId22"/>
    <p:sldId id="820" r:id="rId23"/>
    <p:sldId id="1083" r:id="rId24"/>
    <p:sldId id="1086" r:id="rId25"/>
    <p:sldId id="1084" r:id="rId26"/>
    <p:sldId id="1087" r:id="rId27"/>
    <p:sldId id="791" r:id="rId28"/>
  </p:sldIdLst>
  <p:sldSz cx="11880850" cy="7164388"/>
  <p:notesSz cx="6797675" cy="9926638"/>
  <p:defaultTextStyle>
    <a:defPPr>
      <a:defRPr lang="ru-RU"/>
    </a:defPPr>
    <a:lvl1pPr marL="0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284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569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853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137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422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706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990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275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57">
          <p15:clr>
            <a:srgbClr val="A4A3A4"/>
          </p15:clr>
        </p15:guide>
        <p15:guide id="2" pos="37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ena" initials="E" lastIdx="4" clrIdx="0"/>
  <p:cmAuthor id="1" name="Asus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99"/>
    <a:srgbClr val="FFFFCC"/>
    <a:srgbClr val="FF990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75" autoAdjust="0"/>
    <p:restoredTop sz="94058" autoAdjust="0"/>
  </p:normalViewPr>
  <p:slideViewPr>
    <p:cSldViewPr>
      <p:cViewPr varScale="1">
        <p:scale>
          <a:sx n="66" d="100"/>
          <a:sy n="66" d="100"/>
        </p:scale>
        <p:origin x="1176" y="66"/>
      </p:cViewPr>
      <p:guideLst>
        <p:guide orient="horz" pos="2257"/>
        <p:guide pos="374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528"/>
    </p:cViewPr>
  </p:sorterViewPr>
  <p:notesViewPr>
    <p:cSldViewPr>
      <p:cViewPr>
        <p:scale>
          <a:sx n="66" d="100"/>
          <a:sy n="66" d="100"/>
        </p:scale>
        <p:origin x="-3264" y="-22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Relationship Id="rId8" Type="http://schemas.openxmlformats.org/officeDocument/2006/relationships/slide" Target="slides/slide7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6B515-A397-4DFF-AC67-681F6C757FC6}" type="doc">
      <dgm:prSet loTypeId="urn:microsoft.com/office/officeart/2005/8/layout/radial4" loCatId="relationship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650D26AD-B234-4C6E-B7A0-EFC84A5949E0}">
      <dgm:prSet phldrT="[Текст]" custT="1"/>
      <dgm:spPr/>
      <dgm:t>
        <a:bodyPr lIns="0" tIns="0" rIns="0" bIns="0"/>
        <a:lstStyle/>
        <a:p>
          <a:r>
            <a:rPr lang="ru-RU" sz="1900" b="1" dirty="0" smtClean="0">
              <a:latin typeface="Arial Narrow" panose="020B0606020202030204" pitchFamily="34" charset="0"/>
            </a:rPr>
            <a:t>Национальный инструментарий, разработанный по методологии  </a:t>
          </a:r>
          <a:r>
            <a:rPr lang="en-US" sz="3200" b="1" dirty="0" smtClean="0">
              <a:latin typeface="Arial Narrow" panose="020B0606020202030204" pitchFamily="34" charset="0"/>
            </a:rPr>
            <a:t>PISA</a:t>
          </a:r>
          <a:endParaRPr lang="ru-RU" sz="3200" b="1" dirty="0">
            <a:latin typeface="Arial Narrow" panose="020B0606020202030204" pitchFamily="34" charset="0"/>
          </a:endParaRPr>
        </a:p>
      </dgm:t>
    </dgm:pt>
    <dgm:pt modelId="{5CD5FBEB-75E0-4185-B16C-D8E37BF6FA95}" type="parTrans" cxnId="{1739C1FB-48AB-4E91-B8F2-F1FCBAA9EB5D}">
      <dgm:prSet/>
      <dgm:spPr/>
      <dgm:t>
        <a:bodyPr/>
        <a:lstStyle/>
        <a:p>
          <a:endParaRPr lang="ru-RU"/>
        </a:p>
      </dgm:t>
    </dgm:pt>
    <dgm:pt modelId="{CCDAA023-F7EB-4E47-94E7-CAAF4A1C17B0}" type="sibTrans" cxnId="{1739C1FB-48AB-4E91-B8F2-F1FCBAA9EB5D}">
      <dgm:prSet/>
      <dgm:spPr/>
      <dgm:t>
        <a:bodyPr/>
        <a:lstStyle/>
        <a:p>
          <a:endParaRPr lang="ru-RU"/>
        </a:p>
      </dgm:t>
    </dgm:pt>
    <dgm:pt modelId="{0F672CDD-E79B-4585-91D6-14A125EF5A91}">
      <dgm:prSet phldrT="[Текст]"/>
      <dgm:spPr/>
      <dgm:t>
        <a:bodyPr/>
        <a:lstStyle/>
        <a:p>
          <a:r>
            <a:rPr lang="ru-RU" b="1" dirty="0" smtClean="0"/>
            <a:t>Создание тренажеров</a:t>
          </a:r>
          <a:endParaRPr lang="ru-RU" b="1" dirty="0"/>
        </a:p>
      </dgm:t>
    </dgm:pt>
    <dgm:pt modelId="{64D087DE-056A-41B6-9C2F-B515D4AF79DD}" type="parTrans" cxnId="{127A1FE0-2940-4D13-A26D-519BBDBA8E93}">
      <dgm:prSet/>
      <dgm:spPr/>
      <dgm:t>
        <a:bodyPr/>
        <a:lstStyle/>
        <a:p>
          <a:endParaRPr lang="ru-RU"/>
        </a:p>
      </dgm:t>
    </dgm:pt>
    <dgm:pt modelId="{F9944CFA-1DA9-4EA8-9C6D-3E11BBFAB0CC}" type="sibTrans" cxnId="{127A1FE0-2940-4D13-A26D-519BBDBA8E93}">
      <dgm:prSet/>
      <dgm:spPr/>
      <dgm:t>
        <a:bodyPr/>
        <a:lstStyle/>
        <a:p>
          <a:endParaRPr lang="ru-RU"/>
        </a:p>
      </dgm:t>
    </dgm:pt>
    <dgm:pt modelId="{D8977808-C656-4BF2-9D73-F84E22C58744}">
      <dgm:prSet phldrT="[Текст]"/>
      <dgm:spPr/>
      <dgm:t>
        <a:bodyPr/>
        <a:lstStyle/>
        <a:p>
          <a:r>
            <a:rPr lang="ru-RU" b="1" dirty="0" smtClean="0"/>
            <a:t>Включение заданий в различные предметы</a:t>
          </a:r>
          <a:endParaRPr lang="ru-RU" b="1" dirty="0"/>
        </a:p>
      </dgm:t>
    </dgm:pt>
    <dgm:pt modelId="{5B29607D-233A-46BD-B69F-AEFE56B60445}" type="parTrans" cxnId="{69D6DA2E-BC7B-427D-8077-04CD498BED88}">
      <dgm:prSet/>
      <dgm:spPr/>
      <dgm:t>
        <a:bodyPr/>
        <a:lstStyle/>
        <a:p>
          <a:endParaRPr lang="ru-RU"/>
        </a:p>
      </dgm:t>
    </dgm:pt>
    <dgm:pt modelId="{FADAABEC-FE3D-458E-8347-7E91D5A879B2}" type="sibTrans" cxnId="{69D6DA2E-BC7B-427D-8077-04CD498BED88}">
      <dgm:prSet/>
      <dgm:spPr/>
      <dgm:t>
        <a:bodyPr/>
        <a:lstStyle/>
        <a:p>
          <a:endParaRPr lang="ru-RU"/>
        </a:p>
      </dgm:t>
    </dgm:pt>
    <dgm:pt modelId="{E5D0D1E4-AF5B-4EEF-97AB-4D0EA65EF8DE}">
      <dgm:prSet phldrT="[Текст]"/>
      <dgm:spPr/>
      <dgm:t>
        <a:bodyPr/>
        <a:lstStyle/>
        <a:p>
          <a:r>
            <a:rPr lang="ru-RU" b="1" dirty="0" smtClean="0"/>
            <a:t>Проведение оценочных процедур</a:t>
          </a:r>
          <a:endParaRPr lang="ru-RU" b="1" dirty="0"/>
        </a:p>
      </dgm:t>
    </dgm:pt>
    <dgm:pt modelId="{F7979ACD-608E-4B01-ACEE-5D2595F09064}" type="parTrans" cxnId="{C1380F10-823C-48F8-B02C-A8ABCEBC1FDB}">
      <dgm:prSet/>
      <dgm:spPr/>
      <dgm:t>
        <a:bodyPr/>
        <a:lstStyle/>
        <a:p>
          <a:endParaRPr lang="ru-RU"/>
        </a:p>
      </dgm:t>
    </dgm:pt>
    <dgm:pt modelId="{E4862E16-82B3-40F3-8858-F48871795A3C}" type="sibTrans" cxnId="{C1380F10-823C-48F8-B02C-A8ABCEBC1FDB}">
      <dgm:prSet/>
      <dgm:spPr/>
      <dgm:t>
        <a:bodyPr/>
        <a:lstStyle/>
        <a:p>
          <a:endParaRPr lang="ru-RU"/>
        </a:p>
      </dgm:t>
    </dgm:pt>
    <dgm:pt modelId="{0446437D-ACD1-4C98-A05F-E1DAACB23888}" type="pres">
      <dgm:prSet presAssocID="{60D6B515-A397-4DFF-AC67-681F6C757FC6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DB9A54-1048-4E87-B49B-0E6E934C6CE7}" type="pres">
      <dgm:prSet presAssocID="{650D26AD-B234-4C6E-B7A0-EFC84A5949E0}" presName="centerShape" presStyleLbl="node0" presStyleIdx="0" presStyleCnt="1" custLinFactNeighborX="-70055" custLinFactNeighborY="-19296"/>
      <dgm:spPr/>
      <dgm:t>
        <a:bodyPr/>
        <a:lstStyle/>
        <a:p>
          <a:endParaRPr lang="ru-RU"/>
        </a:p>
      </dgm:t>
    </dgm:pt>
    <dgm:pt modelId="{CD659E1A-517E-4C1A-9FA2-E71077B3274C}" type="pres">
      <dgm:prSet presAssocID="{64D087DE-056A-41B6-9C2F-B515D4AF79DD}" presName="parTrans" presStyleLbl="bgSibTrans2D1" presStyleIdx="0" presStyleCnt="3" custAng="10777594" custScaleX="43183" custLinFactNeighborX="-29050" custLinFactNeighborY="-27503"/>
      <dgm:spPr/>
      <dgm:t>
        <a:bodyPr/>
        <a:lstStyle/>
        <a:p>
          <a:endParaRPr lang="ru-RU"/>
        </a:p>
      </dgm:t>
    </dgm:pt>
    <dgm:pt modelId="{064C5C11-9EE0-41CE-BB44-2D39B1EBC6C1}" type="pres">
      <dgm:prSet presAssocID="{0F672CDD-E79B-4585-91D6-14A125EF5A91}" presName="node" presStyleLbl="node1" presStyleIdx="0" presStyleCnt="3" custScaleX="82956" custScaleY="85251" custRadScaleRad="35979" custRadScaleInc="-776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B364DB-DEF1-4B33-A8F7-0A698210C0CC}" type="pres">
      <dgm:prSet presAssocID="{5B29607D-233A-46BD-B69F-AEFE56B60445}" presName="parTrans" presStyleLbl="bgSibTrans2D1" presStyleIdx="1" presStyleCnt="3" custAng="10879404" custScaleX="44165" custLinFactNeighborX="-26102" custLinFactNeighborY="48302"/>
      <dgm:spPr/>
      <dgm:t>
        <a:bodyPr/>
        <a:lstStyle/>
        <a:p>
          <a:endParaRPr lang="ru-RU"/>
        </a:p>
      </dgm:t>
    </dgm:pt>
    <dgm:pt modelId="{052BD309-77CA-452F-B077-98E62419AD72}" type="pres">
      <dgm:prSet presAssocID="{D8977808-C656-4BF2-9D73-F84E22C58744}" presName="node" presStyleLbl="node1" presStyleIdx="1" presStyleCnt="3" custScaleX="82956" custScaleY="85251" custRadScaleRad="104616" custRadScaleInc="-328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E03C11-4BE4-40FC-A881-5BF14743A104}" type="pres">
      <dgm:prSet presAssocID="{F7979ACD-608E-4B01-ACEE-5D2595F09064}" presName="parTrans" presStyleLbl="bgSibTrans2D1" presStyleIdx="2" presStyleCnt="3" custAng="10808111" custScaleX="38141" custLinFactNeighborX="-30690" custLinFactNeighborY="4469"/>
      <dgm:spPr/>
      <dgm:t>
        <a:bodyPr/>
        <a:lstStyle/>
        <a:p>
          <a:endParaRPr lang="ru-RU"/>
        </a:p>
      </dgm:t>
    </dgm:pt>
    <dgm:pt modelId="{11D3BD94-5A6F-4BAE-819D-B4EEBED9C47F}" type="pres">
      <dgm:prSet presAssocID="{E5D0D1E4-AF5B-4EEF-97AB-4D0EA65EF8DE}" presName="node" presStyleLbl="node1" presStyleIdx="2" presStyleCnt="3" custScaleX="82956" custScaleY="85251" custRadScaleRad="57676" custRadScaleInc="-1545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0A6E4B-52D7-4020-ACA4-AD6DE0295DE0}" type="presOf" srcId="{E5D0D1E4-AF5B-4EEF-97AB-4D0EA65EF8DE}" destId="{11D3BD94-5A6F-4BAE-819D-B4EEBED9C47F}" srcOrd="0" destOrd="0" presId="urn:microsoft.com/office/officeart/2005/8/layout/radial4"/>
    <dgm:cxn modelId="{4DFFDCEC-91BF-4083-95C7-1226251B10D1}" type="presOf" srcId="{60D6B515-A397-4DFF-AC67-681F6C757FC6}" destId="{0446437D-ACD1-4C98-A05F-E1DAACB23888}" srcOrd="0" destOrd="0" presId="urn:microsoft.com/office/officeart/2005/8/layout/radial4"/>
    <dgm:cxn modelId="{7FADC1C5-D551-4722-9022-72144B8E41FC}" type="presOf" srcId="{5B29607D-233A-46BD-B69F-AEFE56B60445}" destId="{BAB364DB-DEF1-4B33-A8F7-0A698210C0CC}" srcOrd="0" destOrd="0" presId="urn:microsoft.com/office/officeart/2005/8/layout/radial4"/>
    <dgm:cxn modelId="{73B6DA4F-E894-425E-B42B-9C642B3ACE0F}" type="presOf" srcId="{650D26AD-B234-4C6E-B7A0-EFC84A5949E0}" destId="{89DB9A54-1048-4E87-B49B-0E6E934C6CE7}" srcOrd="0" destOrd="0" presId="urn:microsoft.com/office/officeart/2005/8/layout/radial4"/>
    <dgm:cxn modelId="{C1380F10-823C-48F8-B02C-A8ABCEBC1FDB}" srcId="{650D26AD-B234-4C6E-B7A0-EFC84A5949E0}" destId="{E5D0D1E4-AF5B-4EEF-97AB-4D0EA65EF8DE}" srcOrd="2" destOrd="0" parTransId="{F7979ACD-608E-4B01-ACEE-5D2595F09064}" sibTransId="{E4862E16-82B3-40F3-8858-F48871795A3C}"/>
    <dgm:cxn modelId="{1739C1FB-48AB-4E91-B8F2-F1FCBAA9EB5D}" srcId="{60D6B515-A397-4DFF-AC67-681F6C757FC6}" destId="{650D26AD-B234-4C6E-B7A0-EFC84A5949E0}" srcOrd="0" destOrd="0" parTransId="{5CD5FBEB-75E0-4185-B16C-D8E37BF6FA95}" sibTransId="{CCDAA023-F7EB-4E47-94E7-CAAF4A1C17B0}"/>
    <dgm:cxn modelId="{D6EC5439-FA58-4A92-9687-19AA2A51CC91}" type="presOf" srcId="{D8977808-C656-4BF2-9D73-F84E22C58744}" destId="{052BD309-77CA-452F-B077-98E62419AD72}" srcOrd="0" destOrd="0" presId="urn:microsoft.com/office/officeart/2005/8/layout/radial4"/>
    <dgm:cxn modelId="{7D6C9C5B-69DE-4F75-99F2-00CB897B6E44}" type="presOf" srcId="{64D087DE-056A-41B6-9C2F-B515D4AF79DD}" destId="{CD659E1A-517E-4C1A-9FA2-E71077B3274C}" srcOrd="0" destOrd="0" presId="urn:microsoft.com/office/officeart/2005/8/layout/radial4"/>
    <dgm:cxn modelId="{5A522B98-5DDD-4505-BF22-417BA8753FE2}" type="presOf" srcId="{0F672CDD-E79B-4585-91D6-14A125EF5A91}" destId="{064C5C11-9EE0-41CE-BB44-2D39B1EBC6C1}" srcOrd="0" destOrd="0" presId="urn:microsoft.com/office/officeart/2005/8/layout/radial4"/>
    <dgm:cxn modelId="{62B734BA-733A-4EFF-9025-E46B4C3CD4BF}" type="presOf" srcId="{F7979ACD-608E-4B01-ACEE-5D2595F09064}" destId="{0BE03C11-4BE4-40FC-A881-5BF14743A104}" srcOrd="0" destOrd="0" presId="urn:microsoft.com/office/officeart/2005/8/layout/radial4"/>
    <dgm:cxn modelId="{69D6DA2E-BC7B-427D-8077-04CD498BED88}" srcId="{650D26AD-B234-4C6E-B7A0-EFC84A5949E0}" destId="{D8977808-C656-4BF2-9D73-F84E22C58744}" srcOrd="1" destOrd="0" parTransId="{5B29607D-233A-46BD-B69F-AEFE56B60445}" sibTransId="{FADAABEC-FE3D-458E-8347-7E91D5A879B2}"/>
    <dgm:cxn modelId="{127A1FE0-2940-4D13-A26D-519BBDBA8E93}" srcId="{650D26AD-B234-4C6E-B7A0-EFC84A5949E0}" destId="{0F672CDD-E79B-4585-91D6-14A125EF5A91}" srcOrd="0" destOrd="0" parTransId="{64D087DE-056A-41B6-9C2F-B515D4AF79DD}" sibTransId="{F9944CFA-1DA9-4EA8-9C6D-3E11BBFAB0CC}"/>
    <dgm:cxn modelId="{5879299C-C13B-4C75-813F-6BC954851F93}" type="presParOf" srcId="{0446437D-ACD1-4C98-A05F-E1DAACB23888}" destId="{89DB9A54-1048-4E87-B49B-0E6E934C6CE7}" srcOrd="0" destOrd="0" presId="urn:microsoft.com/office/officeart/2005/8/layout/radial4"/>
    <dgm:cxn modelId="{04CD2AC2-CCC6-4133-9BDB-E69924092482}" type="presParOf" srcId="{0446437D-ACD1-4C98-A05F-E1DAACB23888}" destId="{CD659E1A-517E-4C1A-9FA2-E71077B3274C}" srcOrd="1" destOrd="0" presId="urn:microsoft.com/office/officeart/2005/8/layout/radial4"/>
    <dgm:cxn modelId="{C93AAD4C-460D-42FB-A056-48D9DC1238F3}" type="presParOf" srcId="{0446437D-ACD1-4C98-A05F-E1DAACB23888}" destId="{064C5C11-9EE0-41CE-BB44-2D39B1EBC6C1}" srcOrd="2" destOrd="0" presId="urn:microsoft.com/office/officeart/2005/8/layout/radial4"/>
    <dgm:cxn modelId="{FA8C6C31-92CF-47BD-BA13-EB9169719F35}" type="presParOf" srcId="{0446437D-ACD1-4C98-A05F-E1DAACB23888}" destId="{BAB364DB-DEF1-4B33-A8F7-0A698210C0CC}" srcOrd="3" destOrd="0" presId="urn:microsoft.com/office/officeart/2005/8/layout/radial4"/>
    <dgm:cxn modelId="{037C7722-52E7-4FCA-9D8E-D3A038E6B4CB}" type="presParOf" srcId="{0446437D-ACD1-4C98-A05F-E1DAACB23888}" destId="{052BD309-77CA-452F-B077-98E62419AD72}" srcOrd="4" destOrd="0" presId="urn:microsoft.com/office/officeart/2005/8/layout/radial4"/>
    <dgm:cxn modelId="{E60D9654-33CD-4F2D-8B11-32C427CAE575}" type="presParOf" srcId="{0446437D-ACD1-4C98-A05F-E1DAACB23888}" destId="{0BE03C11-4BE4-40FC-A881-5BF14743A104}" srcOrd="5" destOrd="0" presId="urn:microsoft.com/office/officeart/2005/8/layout/radial4"/>
    <dgm:cxn modelId="{32E90C11-4555-4FA8-A07E-79DA9348FD99}" type="presParOf" srcId="{0446437D-ACD1-4C98-A05F-E1DAACB23888}" destId="{11D3BD94-5A6F-4BAE-819D-B4EEBED9C47F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AE8C0C-8818-41AD-A0A0-A12C70333244}" type="doc">
      <dgm:prSet loTypeId="urn:microsoft.com/office/officeart/2005/8/layout/vList6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A9241C59-6A97-4B5E-BE61-E78134411CD4}">
      <dgm:prSet phldrT="[Текст]"/>
      <dgm:spPr/>
      <dgm:t>
        <a:bodyPr/>
        <a:lstStyle/>
        <a:p>
          <a:r>
            <a:rPr lang="ru-RU" b="1" dirty="0" smtClean="0"/>
            <a:t>Подготовка учителей  </a:t>
          </a:r>
          <a:r>
            <a:rPr lang="ru-RU" b="1" dirty="0" err="1" smtClean="0"/>
            <a:t>Подготока</a:t>
          </a:r>
          <a:r>
            <a:rPr lang="ru-RU" b="1" dirty="0" smtClean="0"/>
            <a:t>  разработчиков учебных заданий </a:t>
          </a:r>
        </a:p>
        <a:p>
          <a:r>
            <a:rPr lang="ru-RU" b="1" dirty="0" smtClean="0"/>
            <a:t>Создание  учебно-методических пособий</a:t>
          </a:r>
          <a:endParaRPr lang="ru-RU" b="1" dirty="0"/>
        </a:p>
      </dgm:t>
    </dgm:pt>
    <dgm:pt modelId="{511EC49A-8572-41CE-A33E-76C8C0ED25F5}" type="parTrans" cxnId="{93214DEC-5338-4132-AACF-6EE52A6A3965}">
      <dgm:prSet/>
      <dgm:spPr/>
      <dgm:t>
        <a:bodyPr/>
        <a:lstStyle/>
        <a:p>
          <a:endParaRPr lang="ru-RU"/>
        </a:p>
      </dgm:t>
    </dgm:pt>
    <dgm:pt modelId="{A9B10298-9476-4A38-8B07-EC08B801202B}" type="sibTrans" cxnId="{93214DEC-5338-4132-AACF-6EE52A6A3965}">
      <dgm:prSet/>
      <dgm:spPr/>
      <dgm:t>
        <a:bodyPr/>
        <a:lstStyle/>
        <a:p>
          <a:endParaRPr lang="ru-RU"/>
        </a:p>
      </dgm:t>
    </dgm:pt>
    <dgm:pt modelId="{7CACCB3B-6EB2-4FCA-A57F-E825C7173CDD}">
      <dgm:prSet phldrT="[Текст]"/>
      <dgm:spPr/>
      <dgm:t>
        <a:bodyPr anchor="ctr" anchorCtr="0"/>
        <a:lstStyle/>
        <a:p>
          <a:endParaRPr lang="ru-RU" b="1" dirty="0"/>
        </a:p>
      </dgm:t>
    </dgm:pt>
    <dgm:pt modelId="{C30B41ED-FA66-486D-8FDA-C23852D7A399}" type="parTrans" cxnId="{1EC05FC5-62E6-41AB-A23C-F25391A63C15}">
      <dgm:prSet/>
      <dgm:spPr/>
      <dgm:t>
        <a:bodyPr/>
        <a:lstStyle/>
        <a:p>
          <a:endParaRPr lang="ru-RU"/>
        </a:p>
      </dgm:t>
    </dgm:pt>
    <dgm:pt modelId="{1D20CEE5-CF66-47B6-B727-46A41383622C}" type="sibTrans" cxnId="{1EC05FC5-62E6-41AB-A23C-F25391A63C15}">
      <dgm:prSet/>
      <dgm:spPr/>
      <dgm:t>
        <a:bodyPr/>
        <a:lstStyle/>
        <a:p>
          <a:endParaRPr lang="ru-RU"/>
        </a:p>
      </dgm:t>
    </dgm:pt>
    <dgm:pt modelId="{2D1DA44B-9FAF-4321-A0C4-65B1B6C8204A}">
      <dgm:prSet phldrT="[Текст]"/>
      <dgm:spPr/>
      <dgm:t>
        <a:bodyPr/>
        <a:lstStyle/>
        <a:p>
          <a:r>
            <a:rPr lang="ru-RU" b="1" dirty="0" smtClean="0"/>
            <a:t>Подготовка специалистов:  разработчиков заданий, </a:t>
          </a:r>
          <a:r>
            <a:rPr lang="ru-RU" b="1" dirty="0" err="1" smtClean="0"/>
            <a:t>психометриков</a:t>
          </a:r>
          <a:endParaRPr lang="ru-RU" b="1" dirty="0" smtClean="0"/>
        </a:p>
        <a:p>
          <a:r>
            <a:rPr lang="ru-RU" b="1" dirty="0" smtClean="0"/>
            <a:t>Введение в штат школы специалиста по диагностике</a:t>
          </a:r>
          <a:endParaRPr lang="ru-RU" b="1" dirty="0"/>
        </a:p>
      </dgm:t>
    </dgm:pt>
    <dgm:pt modelId="{04A6A68F-792C-46C1-948F-43D567C65ADD}" type="parTrans" cxnId="{A1399A27-1B67-452A-B169-51D953D43DC6}">
      <dgm:prSet/>
      <dgm:spPr/>
      <dgm:t>
        <a:bodyPr/>
        <a:lstStyle/>
        <a:p>
          <a:endParaRPr lang="ru-RU"/>
        </a:p>
      </dgm:t>
    </dgm:pt>
    <dgm:pt modelId="{AA02951E-BF69-4540-977E-6A25810A10F6}" type="sibTrans" cxnId="{A1399A27-1B67-452A-B169-51D953D43DC6}">
      <dgm:prSet/>
      <dgm:spPr/>
      <dgm:t>
        <a:bodyPr/>
        <a:lstStyle/>
        <a:p>
          <a:endParaRPr lang="ru-RU"/>
        </a:p>
      </dgm:t>
    </dgm:pt>
    <dgm:pt modelId="{7D3B6664-6AAB-4B5D-B989-8555376F97A0}">
      <dgm:prSet phldrT="[Текст]"/>
      <dgm:spPr/>
      <dgm:t>
        <a:bodyPr anchor="ctr" anchorCtr="0"/>
        <a:lstStyle/>
        <a:p>
          <a:r>
            <a:rPr lang="ru-RU" b="1" dirty="0" smtClean="0"/>
            <a:t>Внедрение формирующего и диагностического оценивания</a:t>
          </a:r>
          <a:endParaRPr lang="ru-RU" b="1" dirty="0"/>
        </a:p>
      </dgm:t>
    </dgm:pt>
    <dgm:pt modelId="{62CECE46-C10D-430B-8D83-2C71324E28B8}" type="parTrans" cxnId="{35BA382E-C322-4DB6-A510-71FA78E94D26}">
      <dgm:prSet/>
      <dgm:spPr/>
      <dgm:t>
        <a:bodyPr/>
        <a:lstStyle/>
        <a:p>
          <a:endParaRPr lang="ru-RU"/>
        </a:p>
      </dgm:t>
    </dgm:pt>
    <dgm:pt modelId="{7F410DAA-92F0-431B-92D2-349CFA233F0A}" type="sibTrans" cxnId="{35BA382E-C322-4DB6-A510-71FA78E94D26}">
      <dgm:prSet/>
      <dgm:spPr/>
      <dgm:t>
        <a:bodyPr/>
        <a:lstStyle/>
        <a:p>
          <a:endParaRPr lang="ru-RU"/>
        </a:p>
      </dgm:t>
    </dgm:pt>
    <dgm:pt modelId="{4ADF525A-6EED-4582-B9AD-966516B8A08E}">
      <dgm:prSet phldrT="[Текст]"/>
      <dgm:spPr/>
      <dgm:t>
        <a:bodyPr/>
        <a:lstStyle/>
        <a:p>
          <a:r>
            <a:rPr lang="ru-RU" b="1" dirty="0" smtClean="0"/>
            <a:t>Проведение мониторинговых исследований</a:t>
          </a:r>
          <a:endParaRPr lang="ru-RU" b="1" dirty="0"/>
        </a:p>
      </dgm:t>
    </dgm:pt>
    <dgm:pt modelId="{752CFD6F-7B26-4159-80A1-623F8BD160AF}" type="parTrans" cxnId="{627243DF-3CA0-4539-BAE7-33C3302AEC54}">
      <dgm:prSet/>
      <dgm:spPr/>
      <dgm:t>
        <a:bodyPr/>
        <a:lstStyle/>
        <a:p>
          <a:endParaRPr lang="ru-RU"/>
        </a:p>
      </dgm:t>
    </dgm:pt>
    <dgm:pt modelId="{2A23A5FC-64BE-4DC7-A319-CAE7689F2E39}" type="sibTrans" cxnId="{627243DF-3CA0-4539-BAE7-33C3302AEC54}">
      <dgm:prSet/>
      <dgm:spPr/>
      <dgm:t>
        <a:bodyPr/>
        <a:lstStyle/>
        <a:p>
          <a:endParaRPr lang="ru-RU"/>
        </a:p>
      </dgm:t>
    </dgm:pt>
    <dgm:pt modelId="{0CB56AA3-108D-45BE-8CFC-C09A419338C8}">
      <dgm:prSet phldrT="[Текст]"/>
      <dgm:spPr/>
      <dgm:t>
        <a:bodyPr anchor="ctr" anchorCtr="0"/>
        <a:lstStyle/>
        <a:p>
          <a:r>
            <a:rPr lang="ru-RU" b="1" dirty="0" smtClean="0"/>
            <a:t>Формирование функциональной грамотности  по индивидуальной траектории</a:t>
          </a:r>
          <a:endParaRPr lang="ru-RU" b="1" dirty="0"/>
        </a:p>
      </dgm:t>
    </dgm:pt>
    <dgm:pt modelId="{BA2A91FF-1377-4CA9-98AC-B9F353D641B9}" type="parTrans" cxnId="{C407DD33-26F5-49BD-9B79-2AA49ED8F71C}">
      <dgm:prSet/>
      <dgm:spPr/>
      <dgm:t>
        <a:bodyPr/>
        <a:lstStyle/>
        <a:p>
          <a:endParaRPr lang="ru-RU"/>
        </a:p>
      </dgm:t>
    </dgm:pt>
    <dgm:pt modelId="{747D4A4E-D662-4294-9327-E858799F3BA6}" type="sibTrans" cxnId="{C407DD33-26F5-49BD-9B79-2AA49ED8F71C}">
      <dgm:prSet/>
      <dgm:spPr/>
      <dgm:t>
        <a:bodyPr/>
        <a:lstStyle/>
        <a:p>
          <a:endParaRPr lang="ru-RU"/>
        </a:p>
      </dgm:t>
    </dgm:pt>
    <dgm:pt modelId="{C2E083CC-F0D5-4674-AAAE-809387FC5170}">
      <dgm:prSet phldrT="[Текст]"/>
      <dgm:spPr/>
      <dgm:t>
        <a:bodyPr anchor="ctr" anchorCtr="0"/>
        <a:lstStyle/>
        <a:p>
          <a:endParaRPr lang="ru-RU" b="1" dirty="0"/>
        </a:p>
      </dgm:t>
    </dgm:pt>
    <dgm:pt modelId="{EE2FEF4F-7A8E-4AAE-9D41-AE5E4D2FEA83}" type="parTrans" cxnId="{A1C75E62-00AD-4DE3-A052-8B955761DBA9}">
      <dgm:prSet/>
      <dgm:spPr/>
      <dgm:t>
        <a:bodyPr/>
        <a:lstStyle/>
        <a:p>
          <a:endParaRPr lang="ru-RU"/>
        </a:p>
      </dgm:t>
    </dgm:pt>
    <dgm:pt modelId="{18E7D8A1-61D7-46F5-9DB6-D6CEFF22C760}" type="sibTrans" cxnId="{A1C75E62-00AD-4DE3-A052-8B955761DBA9}">
      <dgm:prSet/>
      <dgm:spPr/>
      <dgm:t>
        <a:bodyPr/>
        <a:lstStyle/>
        <a:p>
          <a:endParaRPr lang="ru-RU"/>
        </a:p>
      </dgm:t>
    </dgm:pt>
    <dgm:pt modelId="{2EB3E9A7-42E3-449D-A2C4-6FD03D780B36}">
      <dgm:prSet phldrT="[Текст]"/>
      <dgm:spPr/>
      <dgm:t>
        <a:bodyPr/>
        <a:lstStyle/>
        <a:p>
          <a:r>
            <a:rPr lang="ru-RU" b="1" dirty="0" smtClean="0"/>
            <a:t>Наличие цифровых устройств</a:t>
          </a:r>
        </a:p>
        <a:p>
          <a:r>
            <a:rPr lang="ru-RU" b="1" dirty="0" smtClean="0"/>
            <a:t>Доступ в интернет</a:t>
          </a:r>
        </a:p>
        <a:p>
          <a:r>
            <a:rPr lang="ru-RU" b="1" dirty="0" smtClean="0"/>
            <a:t>Качество программного обеспечения</a:t>
          </a:r>
          <a:endParaRPr lang="ru-RU" b="1" dirty="0"/>
        </a:p>
      </dgm:t>
    </dgm:pt>
    <dgm:pt modelId="{88AD3F02-39B9-44A1-9DDF-60B0363C40AD}" type="parTrans" cxnId="{B823489C-1282-46A0-BD90-21A434BC1F9D}">
      <dgm:prSet/>
      <dgm:spPr/>
      <dgm:t>
        <a:bodyPr/>
        <a:lstStyle/>
        <a:p>
          <a:endParaRPr lang="ru-RU"/>
        </a:p>
      </dgm:t>
    </dgm:pt>
    <dgm:pt modelId="{1F913388-B803-44E0-9B7C-1421DADEBFA0}" type="sibTrans" cxnId="{B823489C-1282-46A0-BD90-21A434BC1F9D}">
      <dgm:prSet/>
      <dgm:spPr/>
      <dgm:t>
        <a:bodyPr/>
        <a:lstStyle/>
        <a:p>
          <a:endParaRPr lang="ru-RU"/>
        </a:p>
      </dgm:t>
    </dgm:pt>
    <dgm:pt modelId="{57F5D089-C38D-4E39-8CC4-E11A5201988D}">
      <dgm:prSet/>
      <dgm:spPr/>
      <dgm:t>
        <a:bodyPr/>
        <a:lstStyle/>
        <a:p>
          <a:endParaRPr lang="ru-RU" dirty="0"/>
        </a:p>
      </dgm:t>
    </dgm:pt>
    <dgm:pt modelId="{AF284ACC-7503-4F12-8882-07B526789281}" type="parTrans" cxnId="{F3FFD993-D3B1-44A8-9BA1-BC1C4703AFE1}">
      <dgm:prSet/>
      <dgm:spPr/>
      <dgm:t>
        <a:bodyPr/>
        <a:lstStyle/>
        <a:p>
          <a:endParaRPr lang="ru-RU"/>
        </a:p>
      </dgm:t>
    </dgm:pt>
    <dgm:pt modelId="{8A30C226-0259-410D-947F-9AEC82B383B4}" type="sibTrans" cxnId="{F3FFD993-D3B1-44A8-9BA1-BC1C4703AFE1}">
      <dgm:prSet/>
      <dgm:spPr/>
      <dgm:t>
        <a:bodyPr/>
        <a:lstStyle/>
        <a:p>
          <a:endParaRPr lang="ru-RU"/>
        </a:p>
      </dgm:t>
    </dgm:pt>
    <dgm:pt modelId="{941340FD-6B10-435C-8A3E-7B6BFFFABE26}">
      <dgm:prSet/>
      <dgm:spPr/>
      <dgm:t>
        <a:bodyPr/>
        <a:lstStyle/>
        <a:p>
          <a:r>
            <a:rPr lang="ru-RU" b="1" dirty="0" smtClean="0"/>
            <a:t>Внедрение новых учебно-методических материалов</a:t>
          </a:r>
          <a:endParaRPr lang="ru-RU" b="1" dirty="0"/>
        </a:p>
      </dgm:t>
    </dgm:pt>
    <dgm:pt modelId="{DCD4FF9B-DBF4-4A9E-9B8D-31C3ED70CC8D}" type="parTrans" cxnId="{39846980-C6AB-466C-B72B-46DE1E014D16}">
      <dgm:prSet/>
      <dgm:spPr/>
      <dgm:t>
        <a:bodyPr/>
        <a:lstStyle/>
        <a:p>
          <a:endParaRPr lang="ru-RU"/>
        </a:p>
      </dgm:t>
    </dgm:pt>
    <dgm:pt modelId="{43B3BAF1-CE1F-42F2-B987-B9D375C3A841}" type="sibTrans" cxnId="{39846980-C6AB-466C-B72B-46DE1E014D16}">
      <dgm:prSet/>
      <dgm:spPr/>
      <dgm:t>
        <a:bodyPr/>
        <a:lstStyle/>
        <a:p>
          <a:endParaRPr lang="ru-RU"/>
        </a:p>
      </dgm:t>
    </dgm:pt>
    <dgm:pt modelId="{3A468C2C-892F-4448-B4C5-CBD941DA2C5B}">
      <dgm:prSet/>
      <dgm:spPr/>
      <dgm:t>
        <a:bodyPr/>
        <a:lstStyle/>
        <a:p>
          <a:r>
            <a:rPr lang="ru-RU" b="1" dirty="0" smtClean="0"/>
            <a:t>Изменение учебного процесса</a:t>
          </a:r>
          <a:endParaRPr lang="ru-RU" b="1" dirty="0"/>
        </a:p>
      </dgm:t>
    </dgm:pt>
    <dgm:pt modelId="{83AD6D95-9A75-4956-A827-FDBBCDBAD217}" type="parTrans" cxnId="{3DE742AA-78F7-4D21-820C-E13EE99FFBAC}">
      <dgm:prSet/>
      <dgm:spPr/>
      <dgm:t>
        <a:bodyPr/>
        <a:lstStyle/>
        <a:p>
          <a:endParaRPr lang="ru-RU"/>
        </a:p>
      </dgm:t>
    </dgm:pt>
    <dgm:pt modelId="{44ECBBB8-6E55-4100-B251-9B0619A8FE4E}" type="sibTrans" cxnId="{3DE742AA-78F7-4D21-820C-E13EE99FFBAC}">
      <dgm:prSet/>
      <dgm:spPr/>
      <dgm:t>
        <a:bodyPr/>
        <a:lstStyle/>
        <a:p>
          <a:endParaRPr lang="ru-RU"/>
        </a:p>
      </dgm:t>
    </dgm:pt>
    <dgm:pt modelId="{304EC867-FEA3-412E-A344-871329C78AD0}" type="pres">
      <dgm:prSet presAssocID="{D5AE8C0C-8818-41AD-A0A0-A12C70333244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5AA26A7-E1B9-4ADC-9716-381A559BC9E8}" type="pres">
      <dgm:prSet presAssocID="{A9241C59-6A97-4B5E-BE61-E78134411CD4}" presName="linNode" presStyleCnt="0"/>
      <dgm:spPr/>
    </dgm:pt>
    <dgm:pt modelId="{C6A7233D-6C60-41D9-A358-B40DF1BCD8E4}" type="pres">
      <dgm:prSet presAssocID="{A9241C59-6A97-4B5E-BE61-E78134411CD4}" presName="parentShp" presStyleLbl="node1" presStyleIdx="0" presStyleCnt="3" custLinFactNeighborX="97378" custLinFactNeighborY="47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64896A-87E2-46F0-B795-405D862AACBB}" type="pres">
      <dgm:prSet presAssocID="{A9241C59-6A97-4B5E-BE61-E78134411CD4}" presName="childShp" presStyleLbl="bgAccFollowNode1" presStyleIdx="0" presStyleCnt="3" custScaleX="95671" custLinFactNeighborX="-100000" custLinFactNeighborY="47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AFEC96-4211-4E72-886F-E91B3013AE48}" type="pres">
      <dgm:prSet presAssocID="{A9B10298-9476-4A38-8B07-EC08B801202B}" presName="spacing" presStyleCnt="0"/>
      <dgm:spPr/>
    </dgm:pt>
    <dgm:pt modelId="{3F6060D4-4380-412C-9D02-7C19293964C6}" type="pres">
      <dgm:prSet presAssocID="{2D1DA44B-9FAF-4321-A0C4-65B1B6C8204A}" presName="linNode" presStyleCnt="0"/>
      <dgm:spPr/>
    </dgm:pt>
    <dgm:pt modelId="{51BB101C-7DC9-485B-9ECE-373820795AA2}" type="pres">
      <dgm:prSet presAssocID="{2D1DA44B-9FAF-4321-A0C4-65B1B6C8204A}" presName="parentShp" presStyleLbl="node1" presStyleIdx="1" presStyleCnt="3" custLinFactNeighborX="97378" custLinFactNeighborY="-6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62CCE7-B218-4614-8325-7D998AA7B56E}" type="pres">
      <dgm:prSet presAssocID="{2D1DA44B-9FAF-4321-A0C4-65B1B6C8204A}" presName="childShp" presStyleLbl="bgAccFollowNode1" presStyleIdx="1" presStyleCnt="3" custScaleX="95671" custLinFactX="-2148" custLinFactNeighborX="-100000" custLinFactNeighborY="133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59E817-B120-48D8-A3E1-203B32853566}" type="pres">
      <dgm:prSet presAssocID="{AA02951E-BF69-4540-977E-6A25810A10F6}" presName="spacing" presStyleCnt="0"/>
      <dgm:spPr/>
    </dgm:pt>
    <dgm:pt modelId="{39490855-724A-4FF4-B6E4-6FFE76E124B1}" type="pres">
      <dgm:prSet presAssocID="{2EB3E9A7-42E3-449D-A2C4-6FD03D780B36}" presName="linNode" presStyleCnt="0"/>
      <dgm:spPr/>
    </dgm:pt>
    <dgm:pt modelId="{4757086F-A8CE-4115-8807-736E9711FE6D}" type="pres">
      <dgm:prSet presAssocID="{2EB3E9A7-42E3-449D-A2C4-6FD03D780B36}" presName="parentShp" presStyleLbl="node1" presStyleIdx="2" presStyleCnt="3" custLinFactNeighborX="97378" custLinFactNeighborY="-6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BCFBCB-AE8B-4363-AC88-BB0D534FF095}" type="pres">
      <dgm:prSet presAssocID="{2EB3E9A7-42E3-449D-A2C4-6FD03D780B36}" presName="childShp" presStyleLbl="bgAccFollowNode1" presStyleIdx="2" presStyleCnt="3" custScaleX="95671" custLinFactX="-1876" custLinFactNeighborX="-100000" custLinFactNeighborY="-6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DE742AA-78F7-4D21-820C-E13EE99FFBAC}" srcId="{A9241C59-6A97-4B5E-BE61-E78134411CD4}" destId="{3A468C2C-892F-4448-B4C5-CBD941DA2C5B}" srcOrd="2" destOrd="0" parTransId="{83AD6D95-9A75-4956-A827-FDBBCDBAD217}" sibTransId="{44ECBBB8-6E55-4100-B251-9B0619A8FE4E}"/>
    <dgm:cxn modelId="{C407DD33-26F5-49BD-9B79-2AA49ED8F71C}" srcId="{2EB3E9A7-42E3-449D-A2C4-6FD03D780B36}" destId="{0CB56AA3-108D-45BE-8CFC-C09A419338C8}" srcOrd="1" destOrd="0" parTransId="{BA2A91FF-1377-4CA9-98AC-B9F353D641B9}" sibTransId="{747D4A4E-D662-4294-9327-E858799F3BA6}"/>
    <dgm:cxn modelId="{A1399A27-1B67-452A-B169-51D953D43DC6}" srcId="{D5AE8C0C-8818-41AD-A0A0-A12C70333244}" destId="{2D1DA44B-9FAF-4321-A0C4-65B1B6C8204A}" srcOrd="1" destOrd="0" parTransId="{04A6A68F-792C-46C1-948F-43D567C65ADD}" sibTransId="{AA02951E-BF69-4540-977E-6A25810A10F6}"/>
    <dgm:cxn modelId="{8959E6D9-A5BD-4241-979A-7F3F713B5C5D}" type="presOf" srcId="{7D3B6664-6AAB-4B5D-B989-8555376F97A0}" destId="{2E62CCE7-B218-4614-8325-7D998AA7B56E}" srcOrd="0" destOrd="0" presId="urn:microsoft.com/office/officeart/2005/8/layout/vList6"/>
    <dgm:cxn modelId="{2A61D11D-1D52-4F05-BC84-55F4E5FB3361}" type="presOf" srcId="{57F5D089-C38D-4E39-8CC4-E11A5201988D}" destId="{2164896A-87E2-46F0-B795-405D862AACBB}" srcOrd="0" destOrd="3" presId="urn:microsoft.com/office/officeart/2005/8/layout/vList6"/>
    <dgm:cxn modelId="{1D240161-CA5C-4F42-9D9B-E43644F913AD}" type="presOf" srcId="{2EB3E9A7-42E3-449D-A2C4-6FD03D780B36}" destId="{4757086F-A8CE-4115-8807-736E9711FE6D}" srcOrd="0" destOrd="0" presId="urn:microsoft.com/office/officeart/2005/8/layout/vList6"/>
    <dgm:cxn modelId="{E9AF6D8E-B73A-4137-AB35-30702AC3B5F1}" type="presOf" srcId="{2D1DA44B-9FAF-4321-A0C4-65B1B6C8204A}" destId="{51BB101C-7DC9-485B-9ECE-373820795AA2}" srcOrd="0" destOrd="0" presId="urn:microsoft.com/office/officeart/2005/8/layout/vList6"/>
    <dgm:cxn modelId="{B823489C-1282-46A0-BD90-21A434BC1F9D}" srcId="{D5AE8C0C-8818-41AD-A0A0-A12C70333244}" destId="{2EB3E9A7-42E3-449D-A2C4-6FD03D780B36}" srcOrd="2" destOrd="0" parTransId="{88AD3F02-39B9-44A1-9DDF-60B0363C40AD}" sibTransId="{1F913388-B803-44E0-9B7C-1421DADEBFA0}"/>
    <dgm:cxn modelId="{3CDAA57F-5C3E-4722-A6EF-EC2914B1CD80}" type="presOf" srcId="{3A468C2C-892F-4448-B4C5-CBD941DA2C5B}" destId="{2164896A-87E2-46F0-B795-405D862AACBB}" srcOrd="0" destOrd="2" presId="urn:microsoft.com/office/officeart/2005/8/layout/vList6"/>
    <dgm:cxn modelId="{28C4F2A7-5B78-445D-9006-FFBC2A88D174}" type="presOf" srcId="{A9241C59-6A97-4B5E-BE61-E78134411CD4}" destId="{C6A7233D-6C60-41D9-A358-B40DF1BCD8E4}" srcOrd="0" destOrd="0" presId="urn:microsoft.com/office/officeart/2005/8/layout/vList6"/>
    <dgm:cxn modelId="{627243DF-3CA0-4539-BAE7-33C3302AEC54}" srcId="{2D1DA44B-9FAF-4321-A0C4-65B1B6C8204A}" destId="{4ADF525A-6EED-4582-B9AD-966516B8A08E}" srcOrd="1" destOrd="0" parTransId="{752CFD6F-7B26-4159-80A1-623F8BD160AF}" sibTransId="{2A23A5FC-64BE-4DC7-A319-CAE7689F2E39}"/>
    <dgm:cxn modelId="{1EC05FC5-62E6-41AB-A23C-F25391A63C15}" srcId="{A9241C59-6A97-4B5E-BE61-E78134411CD4}" destId="{7CACCB3B-6EB2-4FCA-A57F-E825C7173CDD}" srcOrd="0" destOrd="0" parTransId="{C30B41ED-FA66-486D-8FDA-C23852D7A399}" sibTransId="{1D20CEE5-CF66-47B6-B727-46A41383622C}"/>
    <dgm:cxn modelId="{A1C75E62-00AD-4DE3-A052-8B955761DBA9}" srcId="{2EB3E9A7-42E3-449D-A2C4-6FD03D780B36}" destId="{C2E083CC-F0D5-4674-AAAE-809387FC5170}" srcOrd="0" destOrd="0" parTransId="{EE2FEF4F-7A8E-4AAE-9D41-AE5E4D2FEA83}" sibTransId="{18E7D8A1-61D7-46F5-9DB6-D6CEFF22C760}"/>
    <dgm:cxn modelId="{6AC5027F-13D1-4683-8F07-51FC1439C982}" type="presOf" srcId="{7CACCB3B-6EB2-4FCA-A57F-E825C7173CDD}" destId="{2164896A-87E2-46F0-B795-405D862AACBB}" srcOrd="0" destOrd="0" presId="urn:microsoft.com/office/officeart/2005/8/layout/vList6"/>
    <dgm:cxn modelId="{65779155-D5DB-4351-AC7D-86B599F8A80A}" type="presOf" srcId="{C2E083CC-F0D5-4674-AAAE-809387FC5170}" destId="{0EBCFBCB-AE8B-4363-AC88-BB0D534FF095}" srcOrd="0" destOrd="0" presId="urn:microsoft.com/office/officeart/2005/8/layout/vList6"/>
    <dgm:cxn modelId="{8CB7FBE4-E17E-49F7-AD9B-DF132938BC4E}" type="presOf" srcId="{D5AE8C0C-8818-41AD-A0A0-A12C70333244}" destId="{304EC867-FEA3-412E-A344-871329C78AD0}" srcOrd="0" destOrd="0" presId="urn:microsoft.com/office/officeart/2005/8/layout/vList6"/>
    <dgm:cxn modelId="{93214DEC-5338-4132-AACF-6EE52A6A3965}" srcId="{D5AE8C0C-8818-41AD-A0A0-A12C70333244}" destId="{A9241C59-6A97-4B5E-BE61-E78134411CD4}" srcOrd="0" destOrd="0" parTransId="{511EC49A-8572-41CE-A33E-76C8C0ED25F5}" sibTransId="{A9B10298-9476-4A38-8B07-EC08B801202B}"/>
    <dgm:cxn modelId="{C7F040E5-CFE3-47E4-893F-EA8EF390AF3E}" type="presOf" srcId="{0CB56AA3-108D-45BE-8CFC-C09A419338C8}" destId="{0EBCFBCB-AE8B-4363-AC88-BB0D534FF095}" srcOrd="0" destOrd="1" presId="urn:microsoft.com/office/officeart/2005/8/layout/vList6"/>
    <dgm:cxn modelId="{39846980-C6AB-466C-B72B-46DE1E014D16}" srcId="{A9241C59-6A97-4B5E-BE61-E78134411CD4}" destId="{941340FD-6B10-435C-8A3E-7B6BFFFABE26}" srcOrd="1" destOrd="0" parTransId="{DCD4FF9B-DBF4-4A9E-9B8D-31C3ED70CC8D}" sibTransId="{43B3BAF1-CE1F-42F2-B987-B9D375C3A841}"/>
    <dgm:cxn modelId="{A4303768-F0F9-4D81-BAAC-6264E2D4A11E}" type="presOf" srcId="{4ADF525A-6EED-4582-B9AD-966516B8A08E}" destId="{2E62CCE7-B218-4614-8325-7D998AA7B56E}" srcOrd="0" destOrd="1" presId="urn:microsoft.com/office/officeart/2005/8/layout/vList6"/>
    <dgm:cxn modelId="{F3FFD993-D3B1-44A8-9BA1-BC1C4703AFE1}" srcId="{A9241C59-6A97-4B5E-BE61-E78134411CD4}" destId="{57F5D089-C38D-4E39-8CC4-E11A5201988D}" srcOrd="3" destOrd="0" parTransId="{AF284ACC-7503-4F12-8882-07B526789281}" sibTransId="{8A30C226-0259-410D-947F-9AEC82B383B4}"/>
    <dgm:cxn modelId="{35BA382E-C322-4DB6-A510-71FA78E94D26}" srcId="{2D1DA44B-9FAF-4321-A0C4-65B1B6C8204A}" destId="{7D3B6664-6AAB-4B5D-B989-8555376F97A0}" srcOrd="0" destOrd="0" parTransId="{62CECE46-C10D-430B-8D83-2C71324E28B8}" sibTransId="{7F410DAA-92F0-431B-92D2-349CFA233F0A}"/>
    <dgm:cxn modelId="{30A31448-5FF4-47AA-9E32-5EB60A3B06B7}" type="presOf" srcId="{941340FD-6B10-435C-8A3E-7B6BFFFABE26}" destId="{2164896A-87E2-46F0-B795-405D862AACBB}" srcOrd="0" destOrd="1" presId="urn:microsoft.com/office/officeart/2005/8/layout/vList6"/>
    <dgm:cxn modelId="{837AEFC7-E415-441F-A18A-5CC2449B17BE}" type="presParOf" srcId="{304EC867-FEA3-412E-A344-871329C78AD0}" destId="{05AA26A7-E1B9-4ADC-9716-381A559BC9E8}" srcOrd="0" destOrd="0" presId="urn:microsoft.com/office/officeart/2005/8/layout/vList6"/>
    <dgm:cxn modelId="{D19A454F-5E37-4E1C-90E5-C580F0C657E1}" type="presParOf" srcId="{05AA26A7-E1B9-4ADC-9716-381A559BC9E8}" destId="{C6A7233D-6C60-41D9-A358-B40DF1BCD8E4}" srcOrd="0" destOrd="0" presId="urn:microsoft.com/office/officeart/2005/8/layout/vList6"/>
    <dgm:cxn modelId="{E0A743D5-1E97-4EDA-835E-8F817AA1ECD3}" type="presParOf" srcId="{05AA26A7-E1B9-4ADC-9716-381A559BC9E8}" destId="{2164896A-87E2-46F0-B795-405D862AACBB}" srcOrd="1" destOrd="0" presId="urn:microsoft.com/office/officeart/2005/8/layout/vList6"/>
    <dgm:cxn modelId="{673C93F3-5EBA-4F16-B4F8-5A1A222225A1}" type="presParOf" srcId="{304EC867-FEA3-412E-A344-871329C78AD0}" destId="{D9AFEC96-4211-4E72-886F-E91B3013AE48}" srcOrd="1" destOrd="0" presId="urn:microsoft.com/office/officeart/2005/8/layout/vList6"/>
    <dgm:cxn modelId="{2DAD9C43-78AD-4359-BD9D-B699467E6659}" type="presParOf" srcId="{304EC867-FEA3-412E-A344-871329C78AD0}" destId="{3F6060D4-4380-412C-9D02-7C19293964C6}" srcOrd="2" destOrd="0" presId="urn:microsoft.com/office/officeart/2005/8/layout/vList6"/>
    <dgm:cxn modelId="{CFBD3AD0-90B7-4AE0-BBBC-DF1DDDBD1527}" type="presParOf" srcId="{3F6060D4-4380-412C-9D02-7C19293964C6}" destId="{51BB101C-7DC9-485B-9ECE-373820795AA2}" srcOrd="0" destOrd="0" presId="urn:microsoft.com/office/officeart/2005/8/layout/vList6"/>
    <dgm:cxn modelId="{678E88CE-DDE8-4170-816E-67487579300E}" type="presParOf" srcId="{3F6060D4-4380-412C-9D02-7C19293964C6}" destId="{2E62CCE7-B218-4614-8325-7D998AA7B56E}" srcOrd="1" destOrd="0" presId="urn:microsoft.com/office/officeart/2005/8/layout/vList6"/>
    <dgm:cxn modelId="{569B92F9-C676-4743-B3E9-04FBE4FF3A95}" type="presParOf" srcId="{304EC867-FEA3-412E-A344-871329C78AD0}" destId="{0A59E817-B120-48D8-A3E1-203B32853566}" srcOrd="3" destOrd="0" presId="urn:microsoft.com/office/officeart/2005/8/layout/vList6"/>
    <dgm:cxn modelId="{3DA0068F-A4B5-4891-8345-646E7EB13FC0}" type="presParOf" srcId="{304EC867-FEA3-412E-A344-871329C78AD0}" destId="{39490855-724A-4FF4-B6E4-6FFE76E124B1}" srcOrd="4" destOrd="0" presId="urn:microsoft.com/office/officeart/2005/8/layout/vList6"/>
    <dgm:cxn modelId="{5AB6A3FA-5458-4B79-BDE0-12C328044C0F}" type="presParOf" srcId="{39490855-724A-4FF4-B6E4-6FFE76E124B1}" destId="{4757086F-A8CE-4115-8807-736E9711FE6D}" srcOrd="0" destOrd="0" presId="urn:microsoft.com/office/officeart/2005/8/layout/vList6"/>
    <dgm:cxn modelId="{087E54F1-16D8-48BC-B91B-6464648096B0}" type="presParOf" srcId="{39490855-724A-4FF4-B6E4-6FFE76E124B1}" destId="{0EBCFBCB-AE8B-4363-AC88-BB0D534FF09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8DA94D8-56F7-4C08-8790-CE29357BA8E4}" type="doc">
      <dgm:prSet loTypeId="urn:microsoft.com/office/officeart/2005/8/layout/chevron1" loCatId="process" qsTypeId="urn:microsoft.com/office/officeart/2005/8/quickstyle/simple5" qsCatId="simple" csTypeId="urn:microsoft.com/office/officeart/2005/8/colors/accent2_2" csCatId="accent2" phldr="1"/>
      <dgm:spPr/>
    </dgm:pt>
    <dgm:pt modelId="{0926CEE6-7435-474C-BC98-31A9EFE21595}">
      <dgm:prSet phldrT="[Текст]"/>
      <dgm:spPr/>
      <dgm:t>
        <a:bodyPr/>
        <a:lstStyle/>
        <a:p>
          <a:r>
            <a:rPr lang="ru-RU" b="1" dirty="0" smtClean="0"/>
            <a:t>ЦЕЛЬ ИСПОЛЬЗОВАНИЯ</a:t>
          </a:r>
          <a:endParaRPr lang="ru-RU" b="1" dirty="0"/>
        </a:p>
      </dgm:t>
    </dgm:pt>
    <dgm:pt modelId="{B5618544-A231-41D1-8F5E-F4092000CE5D}" type="parTrans" cxnId="{5403DBDC-1A10-44ED-B707-027804C0DD9E}">
      <dgm:prSet/>
      <dgm:spPr/>
      <dgm:t>
        <a:bodyPr/>
        <a:lstStyle/>
        <a:p>
          <a:endParaRPr lang="ru-RU" b="1"/>
        </a:p>
      </dgm:t>
    </dgm:pt>
    <dgm:pt modelId="{9FECAEA6-C4AF-44A3-87D9-80C99863C939}" type="sibTrans" cxnId="{5403DBDC-1A10-44ED-B707-027804C0DD9E}">
      <dgm:prSet/>
      <dgm:spPr/>
      <dgm:t>
        <a:bodyPr/>
        <a:lstStyle/>
        <a:p>
          <a:endParaRPr lang="ru-RU" b="1"/>
        </a:p>
      </dgm:t>
    </dgm:pt>
    <dgm:pt modelId="{3670D5CB-474A-4F48-96B3-A3E5097B3CD4}">
      <dgm:prSet phldrT="[Текст]"/>
      <dgm:spPr/>
      <dgm:t>
        <a:bodyPr/>
        <a:lstStyle/>
        <a:p>
          <a:r>
            <a:rPr lang="ru-RU" b="1" dirty="0" smtClean="0"/>
            <a:t>ЭФФЕКТ</a:t>
          </a:r>
          <a:endParaRPr lang="ru-RU" b="1" dirty="0"/>
        </a:p>
      </dgm:t>
    </dgm:pt>
    <dgm:pt modelId="{7BAA08E2-E1AE-4BDE-B22C-3FBA50174FD0}" type="parTrans" cxnId="{24BFCA02-FC4A-45DA-A7BB-50CA0DEC8C1D}">
      <dgm:prSet/>
      <dgm:spPr/>
      <dgm:t>
        <a:bodyPr/>
        <a:lstStyle/>
        <a:p>
          <a:endParaRPr lang="ru-RU" b="1"/>
        </a:p>
      </dgm:t>
    </dgm:pt>
    <dgm:pt modelId="{C2897F1C-7DE8-4E54-8C92-63282096942E}" type="sibTrans" cxnId="{24BFCA02-FC4A-45DA-A7BB-50CA0DEC8C1D}">
      <dgm:prSet/>
      <dgm:spPr/>
      <dgm:t>
        <a:bodyPr/>
        <a:lstStyle/>
        <a:p>
          <a:endParaRPr lang="ru-RU" b="1"/>
        </a:p>
      </dgm:t>
    </dgm:pt>
    <dgm:pt modelId="{9B126C29-645E-4607-BF97-F07A3794C128}">
      <dgm:prSet phldrT="[Текст]"/>
      <dgm:spPr/>
      <dgm:t>
        <a:bodyPr/>
        <a:lstStyle/>
        <a:p>
          <a:r>
            <a:rPr lang="ru-RU" b="1" dirty="0" smtClean="0"/>
            <a:t>УСЛОВИЯ ИСПОЛЬЗОВАНИЯ</a:t>
          </a:r>
          <a:endParaRPr lang="ru-RU" b="1" dirty="0"/>
        </a:p>
      </dgm:t>
    </dgm:pt>
    <dgm:pt modelId="{EB85262A-DBCF-4025-86E7-A021997BE147}" type="parTrans" cxnId="{6174B1FE-6FFB-4C09-B739-A2A4DFC1D746}">
      <dgm:prSet/>
      <dgm:spPr/>
      <dgm:t>
        <a:bodyPr/>
        <a:lstStyle/>
        <a:p>
          <a:endParaRPr lang="ru-RU" b="1"/>
        </a:p>
      </dgm:t>
    </dgm:pt>
    <dgm:pt modelId="{C6C420A0-56CC-4F60-A295-4375BC1FF483}" type="sibTrans" cxnId="{6174B1FE-6FFB-4C09-B739-A2A4DFC1D746}">
      <dgm:prSet/>
      <dgm:spPr/>
      <dgm:t>
        <a:bodyPr/>
        <a:lstStyle/>
        <a:p>
          <a:endParaRPr lang="ru-RU" b="1"/>
        </a:p>
      </dgm:t>
    </dgm:pt>
    <dgm:pt modelId="{4E80833A-872A-4E49-82A2-AA49ACC1E13E}" type="pres">
      <dgm:prSet presAssocID="{08DA94D8-56F7-4C08-8790-CE29357BA8E4}" presName="Name0" presStyleCnt="0">
        <dgm:presLayoutVars>
          <dgm:dir/>
          <dgm:animLvl val="lvl"/>
          <dgm:resizeHandles val="exact"/>
        </dgm:presLayoutVars>
      </dgm:prSet>
      <dgm:spPr/>
    </dgm:pt>
    <dgm:pt modelId="{CAA729E4-0795-4AEB-91BB-433B510A6580}" type="pres">
      <dgm:prSet presAssocID="{0926CEE6-7435-474C-BC98-31A9EFE2159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2D1C35-8CB3-49F9-9287-5FA1A168DC54}" type="pres">
      <dgm:prSet presAssocID="{9FECAEA6-C4AF-44A3-87D9-80C99863C939}" presName="parTxOnlySpace" presStyleCnt="0"/>
      <dgm:spPr/>
    </dgm:pt>
    <dgm:pt modelId="{82FE06C7-3DD0-4701-B290-4EAF0052F916}" type="pres">
      <dgm:prSet presAssocID="{3670D5CB-474A-4F48-96B3-A3E5097B3CD4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3E2684-64F6-406A-BAE0-FCB15748D62D}" type="pres">
      <dgm:prSet presAssocID="{C2897F1C-7DE8-4E54-8C92-63282096942E}" presName="parTxOnlySpace" presStyleCnt="0"/>
      <dgm:spPr/>
    </dgm:pt>
    <dgm:pt modelId="{95370B56-1612-4631-BB12-581A9DABB21B}" type="pres">
      <dgm:prSet presAssocID="{9B126C29-645E-4607-BF97-F07A3794C128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174B1FE-6FFB-4C09-B739-A2A4DFC1D746}" srcId="{08DA94D8-56F7-4C08-8790-CE29357BA8E4}" destId="{9B126C29-645E-4607-BF97-F07A3794C128}" srcOrd="2" destOrd="0" parTransId="{EB85262A-DBCF-4025-86E7-A021997BE147}" sibTransId="{C6C420A0-56CC-4F60-A295-4375BC1FF483}"/>
    <dgm:cxn modelId="{53CDCB43-1407-4F91-AE76-378BC5902D28}" type="presOf" srcId="{0926CEE6-7435-474C-BC98-31A9EFE21595}" destId="{CAA729E4-0795-4AEB-91BB-433B510A6580}" srcOrd="0" destOrd="0" presId="urn:microsoft.com/office/officeart/2005/8/layout/chevron1"/>
    <dgm:cxn modelId="{5403DBDC-1A10-44ED-B707-027804C0DD9E}" srcId="{08DA94D8-56F7-4C08-8790-CE29357BA8E4}" destId="{0926CEE6-7435-474C-BC98-31A9EFE21595}" srcOrd="0" destOrd="0" parTransId="{B5618544-A231-41D1-8F5E-F4092000CE5D}" sibTransId="{9FECAEA6-C4AF-44A3-87D9-80C99863C939}"/>
    <dgm:cxn modelId="{F970D282-6880-4BF8-AD7A-DB3D71160320}" type="presOf" srcId="{3670D5CB-474A-4F48-96B3-A3E5097B3CD4}" destId="{82FE06C7-3DD0-4701-B290-4EAF0052F916}" srcOrd="0" destOrd="0" presId="urn:microsoft.com/office/officeart/2005/8/layout/chevron1"/>
    <dgm:cxn modelId="{24BFCA02-FC4A-45DA-A7BB-50CA0DEC8C1D}" srcId="{08DA94D8-56F7-4C08-8790-CE29357BA8E4}" destId="{3670D5CB-474A-4F48-96B3-A3E5097B3CD4}" srcOrd="1" destOrd="0" parTransId="{7BAA08E2-E1AE-4BDE-B22C-3FBA50174FD0}" sibTransId="{C2897F1C-7DE8-4E54-8C92-63282096942E}"/>
    <dgm:cxn modelId="{9A2F0312-B363-4F0C-B2D1-C0078505C057}" type="presOf" srcId="{9B126C29-645E-4607-BF97-F07A3794C128}" destId="{95370B56-1612-4631-BB12-581A9DABB21B}" srcOrd="0" destOrd="0" presId="urn:microsoft.com/office/officeart/2005/8/layout/chevron1"/>
    <dgm:cxn modelId="{53E24703-8420-49DE-BAF4-DDAB68DDEADF}" type="presOf" srcId="{08DA94D8-56F7-4C08-8790-CE29357BA8E4}" destId="{4E80833A-872A-4E49-82A2-AA49ACC1E13E}" srcOrd="0" destOrd="0" presId="urn:microsoft.com/office/officeart/2005/8/layout/chevron1"/>
    <dgm:cxn modelId="{8FC3B0C3-7E08-470A-9195-DC7BB9EFF83D}" type="presParOf" srcId="{4E80833A-872A-4E49-82A2-AA49ACC1E13E}" destId="{CAA729E4-0795-4AEB-91BB-433B510A6580}" srcOrd="0" destOrd="0" presId="urn:microsoft.com/office/officeart/2005/8/layout/chevron1"/>
    <dgm:cxn modelId="{3C41295B-5001-4A0A-A3CA-858A66B43DE8}" type="presParOf" srcId="{4E80833A-872A-4E49-82A2-AA49ACC1E13E}" destId="{D22D1C35-8CB3-49F9-9287-5FA1A168DC54}" srcOrd="1" destOrd="0" presId="urn:microsoft.com/office/officeart/2005/8/layout/chevron1"/>
    <dgm:cxn modelId="{7AC543D5-8DCD-4822-948F-29F61EF09169}" type="presParOf" srcId="{4E80833A-872A-4E49-82A2-AA49ACC1E13E}" destId="{82FE06C7-3DD0-4701-B290-4EAF0052F916}" srcOrd="2" destOrd="0" presId="urn:microsoft.com/office/officeart/2005/8/layout/chevron1"/>
    <dgm:cxn modelId="{02AF1DF4-7A2C-4A76-8316-1CBD722A45BD}" type="presParOf" srcId="{4E80833A-872A-4E49-82A2-AA49ACC1E13E}" destId="{ED3E2684-64F6-406A-BAE0-FCB15748D62D}" srcOrd="3" destOrd="0" presId="urn:microsoft.com/office/officeart/2005/8/layout/chevron1"/>
    <dgm:cxn modelId="{ED418445-9BB4-4C26-900B-307A9F2B4713}" type="presParOf" srcId="{4E80833A-872A-4E49-82A2-AA49ACC1E13E}" destId="{95370B56-1612-4631-BB12-581A9DABB21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C1326E0-CFA6-41AF-B03A-D0F53EAB257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D537BF9-5544-4095-98EE-AC33D710DA7C}">
      <dgm:prSet phldrT="[Текст]" custT="1"/>
      <dgm:spPr>
        <a:solidFill>
          <a:srgbClr val="FFCCFF"/>
        </a:solidFill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5FB662-EAB5-4C36-8EF5-F83D58B24278}" type="par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A8FA8B-4961-43D7-B6D2-6D13F9F96F10}" type="sib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5DEF4F-36B5-4893-85E1-60C4964DA234}">
      <dgm:prSet phldrT="[Текст]" custT="1"/>
      <dgm:spPr>
        <a:solidFill>
          <a:srgbClr val="FF0000">
            <a:alpha val="50000"/>
          </a:srgbClr>
        </a:solidFill>
      </dgm:spPr>
      <dgm:t>
        <a:bodyPr/>
        <a:lstStyle/>
        <a:p>
          <a:pPr marL="900000"/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CA71657-8931-430D-AEC2-46E46540845F}" type="par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790EB3-E407-4AA3-ACA0-75A60FB1AFD8}" type="sib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B42553-4854-4EA4-83F3-B3E002F97E11}">
      <dgm:prSet phldrT="[Текст]" custT="1"/>
      <dgm:spPr>
        <a:solidFill>
          <a:schemeClr val="accent5">
            <a:lumMod val="75000"/>
            <a:alpha val="50000"/>
          </a:schemeClr>
        </a:solidFill>
      </dgm:spPr>
      <dgm:t>
        <a:bodyPr/>
        <a:lstStyle/>
        <a:p>
          <a:r>
            <a:rPr lang="ru-RU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B62CB8-0893-428C-A3ED-0DC761E973D5}" type="par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9BDF2D-BAA4-46A0-A585-30F0B780E85B}" type="sib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88230E-7EE5-4F33-AC3E-0356B3364B66}" type="pres">
      <dgm:prSet presAssocID="{8C1326E0-CFA6-41AF-B03A-D0F53EAB257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A5165E-67D6-4469-863A-842734A92BAB}" type="pres">
      <dgm:prSet presAssocID="{AD537BF9-5544-4095-98EE-AC33D710DA7C}" presName="circ1" presStyleLbl="vennNode1" presStyleIdx="0" presStyleCnt="3" custScaleX="142546" custScaleY="113555" custLinFactNeighborX="18825" custLinFactNeighborY="-4368"/>
      <dgm:spPr/>
      <dgm:t>
        <a:bodyPr/>
        <a:lstStyle/>
        <a:p>
          <a:endParaRPr lang="ru-RU"/>
        </a:p>
      </dgm:t>
    </dgm:pt>
    <dgm:pt modelId="{EA169432-8591-43B8-BE4B-CC2CF38892DA}" type="pres">
      <dgm:prSet presAssocID="{AD537BF9-5544-4095-98EE-AC33D710DA7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BCF64A-6A02-4793-A6ED-DED440A18AE6}" type="pres">
      <dgm:prSet presAssocID="{775DEF4F-36B5-4893-85E1-60C4964DA234}" presName="circ2" presStyleLbl="vennNode1" presStyleIdx="1" presStyleCnt="3" custScaleX="159272" custScaleY="113555" custLinFactNeighborX="2162" custLinFactNeighborY="1853"/>
      <dgm:spPr/>
      <dgm:t>
        <a:bodyPr/>
        <a:lstStyle/>
        <a:p>
          <a:endParaRPr lang="ru-RU"/>
        </a:p>
      </dgm:t>
    </dgm:pt>
    <dgm:pt modelId="{0DEB0D55-9FE7-4865-AEA2-E1911BA25DCA}" type="pres">
      <dgm:prSet presAssocID="{775DEF4F-36B5-4893-85E1-60C4964DA23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ECC0DA-4D37-41D6-AC54-4EFAD6D48CD5}" type="pres">
      <dgm:prSet presAssocID="{87B42553-4854-4EA4-83F3-B3E002F97E11}" presName="circ3" presStyleLbl="vennNode1" presStyleIdx="2" presStyleCnt="3" custScaleX="163503" custScaleY="113555" custLinFactNeighborX="-1650" custLinFactNeighborY="-3210"/>
      <dgm:spPr/>
      <dgm:t>
        <a:bodyPr/>
        <a:lstStyle/>
        <a:p>
          <a:endParaRPr lang="ru-RU"/>
        </a:p>
      </dgm:t>
    </dgm:pt>
    <dgm:pt modelId="{731D2D39-E1BD-4195-A764-DF6016C51A6C}" type="pres">
      <dgm:prSet presAssocID="{87B42553-4854-4EA4-83F3-B3E002F97E11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5BB51AF-9418-464A-ADE3-6D6F105DB409}" srcId="{8C1326E0-CFA6-41AF-B03A-D0F53EAB2578}" destId="{87B42553-4854-4EA4-83F3-B3E002F97E11}" srcOrd="2" destOrd="0" parTransId="{6DB62CB8-0893-428C-A3ED-0DC761E973D5}" sibTransId="{1E9BDF2D-BAA4-46A0-A585-30F0B780E85B}"/>
    <dgm:cxn modelId="{437FDFA8-B9D9-4E02-A353-CABC00470107}" srcId="{8C1326E0-CFA6-41AF-B03A-D0F53EAB2578}" destId="{775DEF4F-36B5-4893-85E1-60C4964DA234}" srcOrd="1" destOrd="0" parTransId="{DCA71657-8931-430D-AEC2-46E46540845F}" sibTransId="{E9790EB3-E407-4AA3-ACA0-75A60FB1AFD8}"/>
    <dgm:cxn modelId="{BEEE87B5-E806-4091-B2BB-D501E3737A79}" srcId="{8C1326E0-CFA6-41AF-B03A-D0F53EAB2578}" destId="{AD537BF9-5544-4095-98EE-AC33D710DA7C}" srcOrd="0" destOrd="0" parTransId="{385FB662-EAB5-4C36-8EF5-F83D58B24278}" sibTransId="{06A8FA8B-4961-43D7-B6D2-6D13F9F96F10}"/>
    <dgm:cxn modelId="{68478A96-F785-4B06-8858-0469E358B2F4}" type="presOf" srcId="{87B42553-4854-4EA4-83F3-B3E002F97E11}" destId="{4EECC0DA-4D37-41D6-AC54-4EFAD6D48CD5}" srcOrd="0" destOrd="0" presId="urn:microsoft.com/office/officeart/2005/8/layout/venn1"/>
    <dgm:cxn modelId="{11F814D2-61F5-49A6-B376-9D8841B7222F}" type="presOf" srcId="{87B42553-4854-4EA4-83F3-B3E002F97E11}" destId="{731D2D39-E1BD-4195-A764-DF6016C51A6C}" srcOrd="1" destOrd="0" presId="urn:microsoft.com/office/officeart/2005/8/layout/venn1"/>
    <dgm:cxn modelId="{D83AAB35-C8B5-4120-9721-7C7BB471A27B}" type="presOf" srcId="{775DEF4F-36B5-4893-85E1-60C4964DA234}" destId="{22BCF64A-6A02-4793-A6ED-DED440A18AE6}" srcOrd="0" destOrd="0" presId="urn:microsoft.com/office/officeart/2005/8/layout/venn1"/>
    <dgm:cxn modelId="{707B101B-4668-4B70-8E35-2FCF9B7525D5}" type="presOf" srcId="{AD537BF9-5544-4095-98EE-AC33D710DA7C}" destId="{EA169432-8591-43B8-BE4B-CC2CF38892DA}" srcOrd="1" destOrd="0" presId="urn:microsoft.com/office/officeart/2005/8/layout/venn1"/>
    <dgm:cxn modelId="{FA84F9B5-0BAF-4100-92CE-D2D664D5A793}" type="presOf" srcId="{775DEF4F-36B5-4893-85E1-60C4964DA234}" destId="{0DEB0D55-9FE7-4865-AEA2-E1911BA25DCA}" srcOrd="1" destOrd="0" presId="urn:microsoft.com/office/officeart/2005/8/layout/venn1"/>
    <dgm:cxn modelId="{80BF279F-9F66-483D-BA41-957451606247}" type="presOf" srcId="{AD537BF9-5544-4095-98EE-AC33D710DA7C}" destId="{9EA5165E-67D6-4469-863A-842734A92BAB}" srcOrd="0" destOrd="0" presId="urn:microsoft.com/office/officeart/2005/8/layout/venn1"/>
    <dgm:cxn modelId="{A7EB6614-4781-44F5-8DA3-6AF9568A70EA}" type="presOf" srcId="{8C1326E0-CFA6-41AF-B03A-D0F53EAB2578}" destId="{2088230E-7EE5-4F33-AC3E-0356B3364B66}" srcOrd="0" destOrd="0" presId="urn:microsoft.com/office/officeart/2005/8/layout/venn1"/>
    <dgm:cxn modelId="{A37FD3E8-69BD-4CCA-A7ED-4D6D614B6A1E}" type="presParOf" srcId="{2088230E-7EE5-4F33-AC3E-0356B3364B66}" destId="{9EA5165E-67D6-4469-863A-842734A92BAB}" srcOrd="0" destOrd="0" presId="urn:microsoft.com/office/officeart/2005/8/layout/venn1"/>
    <dgm:cxn modelId="{5C1B3378-FEAF-4EFA-993F-96DAA2BDF3E2}" type="presParOf" srcId="{2088230E-7EE5-4F33-AC3E-0356B3364B66}" destId="{EA169432-8591-43B8-BE4B-CC2CF38892DA}" srcOrd="1" destOrd="0" presId="urn:microsoft.com/office/officeart/2005/8/layout/venn1"/>
    <dgm:cxn modelId="{A99F3924-0B72-4597-9AC3-4A1BAA832389}" type="presParOf" srcId="{2088230E-7EE5-4F33-AC3E-0356B3364B66}" destId="{22BCF64A-6A02-4793-A6ED-DED440A18AE6}" srcOrd="2" destOrd="0" presId="urn:microsoft.com/office/officeart/2005/8/layout/venn1"/>
    <dgm:cxn modelId="{61DCE5CF-3464-4013-8D00-8BB7DF933F44}" type="presParOf" srcId="{2088230E-7EE5-4F33-AC3E-0356B3364B66}" destId="{0DEB0D55-9FE7-4865-AEA2-E1911BA25DCA}" srcOrd="3" destOrd="0" presId="urn:microsoft.com/office/officeart/2005/8/layout/venn1"/>
    <dgm:cxn modelId="{339F3D62-B8C3-4EC0-BCF1-E5C4BF310061}" type="presParOf" srcId="{2088230E-7EE5-4F33-AC3E-0356B3364B66}" destId="{4EECC0DA-4D37-41D6-AC54-4EFAD6D48CD5}" srcOrd="4" destOrd="0" presId="urn:microsoft.com/office/officeart/2005/8/layout/venn1"/>
    <dgm:cxn modelId="{08632CC6-7775-406E-B92D-41758D2B5870}" type="presParOf" srcId="{2088230E-7EE5-4F33-AC3E-0356B3364B66}" destId="{731D2D39-E1BD-4195-A764-DF6016C51A6C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8CBEDB4-5D71-4799-A01C-091E7100446A}" type="doc">
      <dgm:prSet loTypeId="urn:microsoft.com/office/officeart/2005/8/layout/vList4#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13352562-92BF-4E69-A2A3-64AA80F5679E}">
      <dgm:prSet phldrT="[Текст]" custT="1"/>
      <dgm:spPr/>
      <dgm:t>
        <a:bodyPr/>
        <a:lstStyle/>
        <a:p>
          <a:r>
            <a:rPr lang="ru-RU" sz="1000" dirty="0" smtClean="0"/>
            <a:t>Формулировать</a:t>
          </a:r>
        </a:p>
        <a:p>
          <a:r>
            <a:rPr lang="ru-RU" sz="1000" dirty="0" smtClean="0"/>
            <a:t>Применять</a:t>
          </a:r>
        </a:p>
        <a:p>
          <a:r>
            <a:rPr lang="ru-RU" sz="1000" dirty="0" smtClean="0"/>
            <a:t>Рассуждать</a:t>
          </a:r>
        </a:p>
        <a:p>
          <a:r>
            <a:rPr lang="ru-RU" sz="1000" dirty="0" smtClean="0"/>
            <a:t>Интерпретировать</a:t>
          </a:r>
          <a:endParaRPr lang="ru-RU" sz="1000" dirty="0"/>
        </a:p>
      </dgm:t>
    </dgm:pt>
    <dgm:pt modelId="{283A07AE-0D45-4FD8-B2AF-135D9D64AF46}" type="parTrans" cxnId="{52B40051-B869-4742-BFE4-6DA87F6980C2}">
      <dgm:prSet/>
      <dgm:spPr/>
      <dgm:t>
        <a:bodyPr/>
        <a:lstStyle/>
        <a:p>
          <a:endParaRPr lang="ru-RU"/>
        </a:p>
      </dgm:t>
    </dgm:pt>
    <dgm:pt modelId="{77DFF5B7-264C-4569-8DF9-3646CC3DEBB9}" type="sibTrans" cxnId="{52B40051-B869-4742-BFE4-6DA87F6980C2}">
      <dgm:prSet/>
      <dgm:spPr/>
      <dgm:t>
        <a:bodyPr/>
        <a:lstStyle/>
        <a:p>
          <a:endParaRPr lang="ru-RU"/>
        </a:p>
      </dgm:t>
    </dgm:pt>
    <dgm:pt modelId="{0AD723AC-09DF-4486-A78C-5F966962D1F8}">
      <dgm:prSet phldrT="[Текст]" custT="1"/>
      <dgm:spPr/>
      <dgm:t>
        <a:bodyPr/>
        <a:lstStyle/>
        <a:p>
          <a:r>
            <a:rPr lang="ru-RU" sz="1000" dirty="0" smtClean="0"/>
            <a:t>Находить и извлекать информацию</a:t>
          </a:r>
        </a:p>
        <a:p>
          <a:r>
            <a:rPr lang="ru-RU" sz="1000" dirty="0" smtClean="0"/>
            <a:t>Интегрировать и интерпретировать информацию</a:t>
          </a:r>
        </a:p>
        <a:p>
          <a:r>
            <a:rPr lang="ru-RU" sz="1000" dirty="0" smtClean="0"/>
            <a:t>Оценивать содержание и форму текста</a:t>
          </a:r>
        </a:p>
        <a:p>
          <a:r>
            <a:rPr lang="ru-RU" sz="1000" dirty="0" smtClean="0"/>
            <a:t>Использовать информацию из текста</a:t>
          </a:r>
          <a:endParaRPr lang="ru-RU" sz="1000" dirty="0"/>
        </a:p>
      </dgm:t>
    </dgm:pt>
    <dgm:pt modelId="{CE9E8120-A024-4471-A965-1C0F216458F9}" type="parTrans" cxnId="{7D984984-D1FF-4977-BC10-6C3480B78490}">
      <dgm:prSet/>
      <dgm:spPr/>
      <dgm:t>
        <a:bodyPr/>
        <a:lstStyle/>
        <a:p>
          <a:endParaRPr lang="ru-RU"/>
        </a:p>
      </dgm:t>
    </dgm:pt>
    <dgm:pt modelId="{36A9F640-2702-48DA-A665-1A1369F909B4}" type="sibTrans" cxnId="{7D984984-D1FF-4977-BC10-6C3480B78490}">
      <dgm:prSet/>
      <dgm:spPr/>
      <dgm:t>
        <a:bodyPr/>
        <a:lstStyle/>
        <a:p>
          <a:endParaRPr lang="ru-RU"/>
        </a:p>
      </dgm:t>
    </dgm:pt>
    <dgm:pt modelId="{1823F5F9-5448-40CC-8633-C6A9135C82AC}">
      <dgm:prSet phldrT="[Текст]" custT="1"/>
      <dgm:spPr/>
      <dgm:t>
        <a:bodyPr/>
        <a:lstStyle/>
        <a:p>
          <a:r>
            <a:rPr lang="ru-RU" sz="1000" dirty="0" smtClean="0"/>
            <a:t>Научное объяснение явлений</a:t>
          </a:r>
        </a:p>
        <a:p>
          <a:r>
            <a:rPr lang="ru-RU" sz="1000" dirty="0" smtClean="0"/>
            <a:t>Применение методов естественнонаучного исследования</a:t>
          </a:r>
        </a:p>
        <a:p>
          <a:r>
            <a:rPr lang="ru-RU" sz="1000" dirty="0" smtClean="0"/>
            <a:t>Интерпретация данных для получения выводов</a:t>
          </a:r>
          <a:endParaRPr lang="ru-RU" sz="1000" dirty="0"/>
        </a:p>
      </dgm:t>
    </dgm:pt>
    <dgm:pt modelId="{5AC984EA-1FD2-4F83-8B99-32758A45444D}" type="parTrans" cxnId="{D92DB7F9-223F-497F-924B-3F2B2B209DDC}">
      <dgm:prSet/>
      <dgm:spPr/>
      <dgm:t>
        <a:bodyPr/>
        <a:lstStyle/>
        <a:p>
          <a:endParaRPr lang="ru-RU"/>
        </a:p>
      </dgm:t>
    </dgm:pt>
    <dgm:pt modelId="{01A3A92F-497F-4BC1-A587-42F055DCD2D6}" type="sibTrans" cxnId="{D92DB7F9-223F-497F-924B-3F2B2B209DDC}">
      <dgm:prSet/>
      <dgm:spPr/>
      <dgm:t>
        <a:bodyPr/>
        <a:lstStyle/>
        <a:p>
          <a:endParaRPr lang="ru-RU"/>
        </a:p>
      </dgm:t>
    </dgm:pt>
    <dgm:pt modelId="{0D29B914-0556-428B-A3FE-9A8C53EE7A15}">
      <dgm:prSet custT="1"/>
      <dgm:spPr/>
      <dgm:t>
        <a:bodyPr/>
        <a:lstStyle/>
        <a:p>
          <a:r>
            <a:rPr lang="ru-RU" sz="900" dirty="0" smtClean="0"/>
            <a:t>Выявление финансовой информации</a:t>
          </a:r>
        </a:p>
        <a:p>
          <a:r>
            <a:rPr lang="ru-RU" sz="900" dirty="0" smtClean="0"/>
            <a:t>Анализ информации в финансовом контексте</a:t>
          </a:r>
        </a:p>
        <a:p>
          <a:r>
            <a:rPr lang="ru-RU" sz="900" dirty="0" smtClean="0"/>
            <a:t>Оценка финансовой проблемы</a:t>
          </a:r>
        </a:p>
        <a:p>
          <a:r>
            <a:rPr lang="ru-RU" sz="900" dirty="0" smtClean="0"/>
            <a:t>Применение финансовых знаний и понимания</a:t>
          </a:r>
        </a:p>
      </dgm:t>
    </dgm:pt>
    <dgm:pt modelId="{9E3264B3-256E-4500-904E-E7E50EC773CD}" type="parTrans" cxnId="{D5E1E07C-DD43-4F56-84E6-4108A7C6D839}">
      <dgm:prSet/>
      <dgm:spPr/>
      <dgm:t>
        <a:bodyPr/>
        <a:lstStyle/>
        <a:p>
          <a:endParaRPr lang="ru-RU"/>
        </a:p>
      </dgm:t>
    </dgm:pt>
    <dgm:pt modelId="{B8CD6B11-6605-4C17-BDB1-2C162820178B}" type="sibTrans" cxnId="{D5E1E07C-DD43-4F56-84E6-4108A7C6D839}">
      <dgm:prSet/>
      <dgm:spPr/>
      <dgm:t>
        <a:bodyPr/>
        <a:lstStyle/>
        <a:p>
          <a:endParaRPr lang="ru-RU"/>
        </a:p>
      </dgm:t>
    </dgm:pt>
    <dgm:pt modelId="{7DBD9EA0-9D99-4C3E-81F9-EFAEABE5A51F}">
      <dgm:prSet custT="1"/>
      <dgm:spPr/>
      <dgm:t>
        <a:bodyPr/>
        <a:lstStyle/>
        <a:p>
          <a:r>
            <a:rPr lang="ru-RU" sz="1000" dirty="0" smtClean="0"/>
            <a:t>Выявлять мнения, подходы, перспективы</a:t>
          </a:r>
        </a:p>
        <a:p>
          <a:r>
            <a:rPr lang="ru-RU" sz="1000" dirty="0" smtClean="0"/>
            <a:t>Анализировать различные мнения, подходы, перспективы </a:t>
          </a:r>
        </a:p>
        <a:p>
          <a:r>
            <a:rPr lang="ru-RU" sz="1000" dirty="0" smtClean="0"/>
            <a:t>Объяснять сложные ситуации и проблемы</a:t>
          </a:r>
        </a:p>
        <a:p>
          <a:r>
            <a:rPr lang="ru-RU" sz="1000" dirty="0" smtClean="0"/>
            <a:t>Оценивать информацию</a:t>
          </a:r>
        </a:p>
      </dgm:t>
    </dgm:pt>
    <dgm:pt modelId="{5C6CE5CB-CF33-4184-A251-79D8E578B96D}" type="parTrans" cxnId="{64691E86-4486-414A-96DF-A48D1496C22F}">
      <dgm:prSet/>
      <dgm:spPr/>
      <dgm:t>
        <a:bodyPr/>
        <a:lstStyle/>
        <a:p>
          <a:endParaRPr lang="ru-RU"/>
        </a:p>
      </dgm:t>
    </dgm:pt>
    <dgm:pt modelId="{CD2A0C98-82D6-49E5-BAB9-68E2C2763D97}" type="sibTrans" cxnId="{64691E86-4486-414A-96DF-A48D1496C22F}">
      <dgm:prSet/>
      <dgm:spPr/>
      <dgm:t>
        <a:bodyPr/>
        <a:lstStyle/>
        <a:p>
          <a:endParaRPr lang="ru-RU"/>
        </a:p>
      </dgm:t>
    </dgm:pt>
    <dgm:pt modelId="{3F8472AA-8846-4410-A465-A9ED83577BEE}">
      <dgm:prSet custT="1"/>
      <dgm:spPr/>
      <dgm:t>
        <a:bodyPr/>
        <a:lstStyle/>
        <a:p>
          <a:r>
            <a:rPr lang="ru-RU" sz="1000" dirty="0" smtClean="0"/>
            <a:t>Выдвижение разнообразных идей</a:t>
          </a:r>
        </a:p>
        <a:p>
          <a:r>
            <a:rPr lang="ru-RU" sz="1000" dirty="0" smtClean="0"/>
            <a:t>Отбор креативных идей</a:t>
          </a:r>
        </a:p>
        <a:p>
          <a:r>
            <a:rPr lang="ru-RU" sz="1000" dirty="0" smtClean="0"/>
            <a:t>Доработка идеи</a:t>
          </a:r>
        </a:p>
        <a:p>
          <a:r>
            <a:rPr lang="ru-RU" sz="1000" dirty="0" smtClean="0"/>
            <a:t>Выдвижение креативной идеи</a:t>
          </a:r>
        </a:p>
      </dgm:t>
    </dgm:pt>
    <dgm:pt modelId="{F76AEC26-C906-4239-A141-A22F351BB022}" type="parTrans" cxnId="{C474836C-5561-4F08-B37C-25088E4787B8}">
      <dgm:prSet/>
      <dgm:spPr/>
      <dgm:t>
        <a:bodyPr/>
        <a:lstStyle/>
        <a:p>
          <a:endParaRPr lang="ru-RU"/>
        </a:p>
      </dgm:t>
    </dgm:pt>
    <dgm:pt modelId="{729F37A1-07AC-4DAF-92FE-82A7CF86F2C4}" type="sibTrans" cxnId="{C474836C-5561-4F08-B37C-25088E4787B8}">
      <dgm:prSet/>
      <dgm:spPr/>
      <dgm:t>
        <a:bodyPr/>
        <a:lstStyle/>
        <a:p>
          <a:endParaRPr lang="ru-RU"/>
        </a:p>
      </dgm:t>
    </dgm:pt>
    <dgm:pt modelId="{0A025F1C-4AAE-45FC-A927-E3283CC25B48}" type="pres">
      <dgm:prSet presAssocID="{68CBEDB4-5D71-4799-A01C-091E7100446A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769F41A-2BBF-4AE9-92F3-74FF57001190}" type="pres">
      <dgm:prSet presAssocID="{13352562-92BF-4E69-A2A3-64AA80F5679E}" presName="comp" presStyleCnt="0"/>
      <dgm:spPr/>
    </dgm:pt>
    <dgm:pt modelId="{50722C34-A323-40C2-9C8C-134F1C1DCD6D}" type="pres">
      <dgm:prSet presAssocID="{13352562-92BF-4E69-A2A3-64AA80F5679E}" presName="box" presStyleLbl="node1" presStyleIdx="0" presStyleCnt="6" custLinFactNeighborX="-1851" custLinFactNeighborY="-11949"/>
      <dgm:spPr/>
      <dgm:t>
        <a:bodyPr/>
        <a:lstStyle/>
        <a:p>
          <a:endParaRPr lang="ru-RU"/>
        </a:p>
      </dgm:t>
    </dgm:pt>
    <dgm:pt modelId="{7AA692DF-EDC7-4E38-B472-B73043D265FE}" type="pres">
      <dgm:prSet presAssocID="{13352562-92BF-4E69-A2A3-64AA80F5679E}" presName="img" presStyleLbl="fgImgPlace1" presStyleIdx="0" presStyleCnt="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1BC1648-FFF2-4BB9-9087-3175ECB7EB12}" type="pres">
      <dgm:prSet presAssocID="{13352562-92BF-4E69-A2A3-64AA80F5679E}" presName="text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F12678-DFD0-49A0-B0C5-8BEF5DC9D08A}" type="pres">
      <dgm:prSet presAssocID="{77DFF5B7-264C-4569-8DF9-3646CC3DEBB9}" presName="spacer" presStyleCnt="0"/>
      <dgm:spPr/>
    </dgm:pt>
    <dgm:pt modelId="{6DABC0EB-A090-47C0-A93F-FA6D94E2F6CF}" type="pres">
      <dgm:prSet presAssocID="{0AD723AC-09DF-4486-A78C-5F966962D1F8}" presName="comp" presStyleCnt="0"/>
      <dgm:spPr/>
    </dgm:pt>
    <dgm:pt modelId="{276E4CA7-DED5-4188-AF17-83B4F5F56C08}" type="pres">
      <dgm:prSet presAssocID="{0AD723AC-09DF-4486-A78C-5F966962D1F8}" presName="box" presStyleLbl="node1" presStyleIdx="1" presStyleCnt="6"/>
      <dgm:spPr/>
      <dgm:t>
        <a:bodyPr/>
        <a:lstStyle/>
        <a:p>
          <a:endParaRPr lang="ru-RU"/>
        </a:p>
      </dgm:t>
    </dgm:pt>
    <dgm:pt modelId="{ADC99402-97F7-4AF8-BB31-4182A4E2A0C0}" type="pres">
      <dgm:prSet presAssocID="{0AD723AC-09DF-4486-A78C-5F966962D1F8}" presName="img" presStyleLbl="fgImgPlace1" presStyleIdx="1" presStyleCnt="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AC3D2B41-714A-4D10-94B2-E1CA6456BCB6}" type="pres">
      <dgm:prSet presAssocID="{0AD723AC-09DF-4486-A78C-5F966962D1F8}" presName="text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D3E07F-C39C-4A6F-B0C2-83875AB4F30B}" type="pres">
      <dgm:prSet presAssocID="{36A9F640-2702-48DA-A665-1A1369F909B4}" presName="spacer" presStyleCnt="0"/>
      <dgm:spPr/>
    </dgm:pt>
    <dgm:pt modelId="{FC6652D6-A39B-4149-B02D-3D3D3D55B6D4}" type="pres">
      <dgm:prSet presAssocID="{1823F5F9-5448-40CC-8633-C6A9135C82AC}" presName="comp" presStyleCnt="0"/>
      <dgm:spPr/>
    </dgm:pt>
    <dgm:pt modelId="{42AD0288-D823-4B5F-8F4C-628BADB5F2E3}" type="pres">
      <dgm:prSet presAssocID="{1823F5F9-5448-40CC-8633-C6A9135C82AC}" presName="box" presStyleLbl="node1" presStyleIdx="2" presStyleCnt="6"/>
      <dgm:spPr/>
      <dgm:t>
        <a:bodyPr/>
        <a:lstStyle/>
        <a:p>
          <a:endParaRPr lang="ru-RU"/>
        </a:p>
      </dgm:t>
    </dgm:pt>
    <dgm:pt modelId="{77A2D0BF-232B-4DD1-B42B-9FBAA613D2A6}" type="pres">
      <dgm:prSet presAssocID="{1823F5F9-5448-40CC-8633-C6A9135C82AC}" presName="img" presStyleLbl="fgImgPlace1" presStyleIdx="2" presStyleCnt="6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EC6BBB65-9E11-4B9A-A333-973E1C3E3312}" type="pres">
      <dgm:prSet presAssocID="{1823F5F9-5448-40CC-8633-C6A9135C82AC}" presName="text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EB9B13-D496-491D-8C17-1207E4D83F24}" type="pres">
      <dgm:prSet presAssocID="{01A3A92F-497F-4BC1-A587-42F055DCD2D6}" presName="spacer" presStyleCnt="0"/>
      <dgm:spPr/>
    </dgm:pt>
    <dgm:pt modelId="{B6BC5AEB-3167-4FB1-9754-38F21443BFA5}" type="pres">
      <dgm:prSet presAssocID="{0D29B914-0556-428B-A3FE-9A8C53EE7A15}" presName="comp" presStyleCnt="0"/>
      <dgm:spPr/>
    </dgm:pt>
    <dgm:pt modelId="{031BF10E-367D-4BFA-9655-86707F91BA7E}" type="pres">
      <dgm:prSet presAssocID="{0D29B914-0556-428B-A3FE-9A8C53EE7A15}" presName="box" presStyleLbl="node1" presStyleIdx="3" presStyleCnt="6"/>
      <dgm:spPr/>
      <dgm:t>
        <a:bodyPr/>
        <a:lstStyle/>
        <a:p>
          <a:endParaRPr lang="ru-RU"/>
        </a:p>
      </dgm:t>
    </dgm:pt>
    <dgm:pt modelId="{F82803CA-67BF-4942-A6FE-6DAFFADB7614}" type="pres">
      <dgm:prSet presAssocID="{0D29B914-0556-428B-A3FE-9A8C53EE7A15}" presName="img" presStyleLbl="fgImgPlace1" presStyleIdx="3" presStyleCnt="6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1026436D-0145-489D-86EE-25CA770D9492}" type="pres">
      <dgm:prSet presAssocID="{0D29B914-0556-428B-A3FE-9A8C53EE7A15}" presName="text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620787-AAE9-4345-AE44-E7E168B42C55}" type="pres">
      <dgm:prSet presAssocID="{B8CD6B11-6605-4C17-BDB1-2C162820178B}" presName="spacer" presStyleCnt="0"/>
      <dgm:spPr/>
    </dgm:pt>
    <dgm:pt modelId="{B2C2F03A-AC7E-4AA9-A426-085DEDB95612}" type="pres">
      <dgm:prSet presAssocID="{7DBD9EA0-9D99-4C3E-81F9-EFAEABE5A51F}" presName="comp" presStyleCnt="0"/>
      <dgm:spPr/>
    </dgm:pt>
    <dgm:pt modelId="{10A023E1-ECE4-455E-B528-CF658115F981}" type="pres">
      <dgm:prSet presAssocID="{7DBD9EA0-9D99-4C3E-81F9-EFAEABE5A51F}" presName="box" presStyleLbl="node1" presStyleIdx="4" presStyleCnt="6"/>
      <dgm:spPr/>
      <dgm:t>
        <a:bodyPr/>
        <a:lstStyle/>
        <a:p>
          <a:endParaRPr lang="ru-RU"/>
        </a:p>
      </dgm:t>
    </dgm:pt>
    <dgm:pt modelId="{5FBA27B3-2D9E-45FE-B4C6-5FAE9D11F1BF}" type="pres">
      <dgm:prSet presAssocID="{7DBD9EA0-9D99-4C3E-81F9-EFAEABE5A51F}" presName="img" presStyleLbl="fgImgPlace1" presStyleIdx="4" presStyleCnt="6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9FC5FF8C-AE73-479A-9F2A-54120409EED1}" type="pres">
      <dgm:prSet presAssocID="{7DBD9EA0-9D99-4C3E-81F9-EFAEABE5A51F}" presName="text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049994-8231-410C-B7B6-96A5B358DF06}" type="pres">
      <dgm:prSet presAssocID="{CD2A0C98-82D6-49E5-BAB9-68E2C2763D97}" presName="spacer" presStyleCnt="0"/>
      <dgm:spPr/>
    </dgm:pt>
    <dgm:pt modelId="{A14F77E3-861E-42AC-B70A-85C2219829ED}" type="pres">
      <dgm:prSet presAssocID="{3F8472AA-8846-4410-A465-A9ED83577BEE}" presName="comp" presStyleCnt="0"/>
      <dgm:spPr/>
    </dgm:pt>
    <dgm:pt modelId="{A281BC3A-1B79-48E5-A79E-456C999A45AC}" type="pres">
      <dgm:prSet presAssocID="{3F8472AA-8846-4410-A465-A9ED83577BEE}" presName="box" presStyleLbl="node1" presStyleIdx="5" presStyleCnt="6"/>
      <dgm:spPr/>
      <dgm:t>
        <a:bodyPr/>
        <a:lstStyle/>
        <a:p>
          <a:endParaRPr lang="ru-RU"/>
        </a:p>
      </dgm:t>
    </dgm:pt>
    <dgm:pt modelId="{A82FED41-F6DB-45F6-AFB9-A5B4067D2FA1}" type="pres">
      <dgm:prSet presAssocID="{3F8472AA-8846-4410-A465-A9ED83577BEE}" presName="img" presStyleLbl="fgImgPlace1" presStyleIdx="5" presStyleCnt="6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  <dgm:pt modelId="{80799208-38D6-4413-BF85-8316F91E1433}" type="pres">
      <dgm:prSet presAssocID="{3F8472AA-8846-4410-A465-A9ED83577BEE}" presName="text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2E9FE78-80BF-409A-A23F-221B20711405}" type="presOf" srcId="{3F8472AA-8846-4410-A465-A9ED83577BEE}" destId="{80799208-38D6-4413-BF85-8316F91E1433}" srcOrd="1" destOrd="0" presId="urn:microsoft.com/office/officeart/2005/8/layout/vList4#2"/>
    <dgm:cxn modelId="{64691E86-4486-414A-96DF-A48D1496C22F}" srcId="{68CBEDB4-5D71-4799-A01C-091E7100446A}" destId="{7DBD9EA0-9D99-4C3E-81F9-EFAEABE5A51F}" srcOrd="4" destOrd="0" parTransId="{5C6CE5CB-CF33-4184-A251-79D8E578B96D}" sibTransId="{CD2A0C98-82D6-49E5-BAB9-68E2C2763D97}"/>
    <dgm:cxn modelId="{23A7F6C3-42AE-4308-AD1D-E2CCF4E52CCC}" type="presOf" srcId="{13352562-92BF-4E69-A2A3-64AA80F5679E}" destId="{F1BC1648-FFF2-4BB9-9087-3175ECB7EB12}" srcOrd="1" destOrd="0" presId="urn:microsoft.com/office/officeart/2005/8/layout/vList4#2"/>
    <dgm:cxn modelId="{ACF4281D-CD28-42EF-AD17-01CB29AACD8B}" type="presOf" srcId="{13352562-92BF-4E69-A2A3-64AA80F5679E}" destId="{50722C34-A323-40C2-9C8C-134F1C1DCD6D}" srcOrd="0" destOrd="0" presId="urn:microsoft.com/office/officeart/2005/8/layout/vList4#2"/>
    <dgm:cxn modelId="{54164A09-10EC-4198-95D2-C0E064E1878C}" type="presOf" srcId="{7DBD9EA0-9D99-4C3E-81F9-EFAEABE5A51F}" destId="{9FC5FF8C-AE73-479A-9F2A-54120409EED1}" srcOrd="1" destOrd="0" presId="urn:microsoft.com/office/officeart/2005/8/layout/vList4#2"/>
    <dgm:cxn modelId="{D92DB7F9-223F-497F-924B-3F2B2B209DDC}" srcId="{68CBEDB4-5D71-4799-A01C-091E7100446A}" destId="{1823F5F9-5448-40CC-8633-C6A9135C82AC}" srcOrd="2" destOrd="0" parTransId="{5AC984EA-1FD2-4F83-8B99-32758A45444D}" sibTransId="{01A3A92F-497F-4BC1-A587-42F055DCD2D6}"/>
    <dgm:cxn modelId="{3E116CC2-9B38-4D11-A790-C16BCBDBF2BA}" type="presOf" srcId="{3F8472AA-8846-4410-A465-A9ED83577BEE}" destId="{A281BC3A-1B79-48E5-A79E-456C999A45AC}" srcOrd="0" destOrd="0" presId="urn:microsoft.com/office/officeart/2005/8/layout/vList4#2"/>
    <dgm:cxn modelId="{A54E6C02-587D-48E2-AB50-E058EED1B1C2}" type="presOf" srcId="{0AD723AC-09DF-4486-A78C-5F966962D1F8}" destId="{AC3D2B41-714A-4D10-94B2-E1CA6456BCB6}" srcOrd="1" destOrd="0" presId="urn:microsoft.com/office/officeart/2005/8/layout/vList4#2"/>
    <dgm:cxn modelId="{B3029A8A-6C3A-4A7B-9BA1-62AA851A4F03}" type="presOf" srcId="{1823F5F9-5448-40CC-8633-C6A9135C82AC}" destId="{42AD0288-D823-4B5F-8F4C-628BADB5F2E3}" srcOrd="0" destOrd="0" presId="urn:microsoft.com/office/officeart/2005/8/layout/vList4#2"/>
    <dgm:cxn modelId="{74A0A6B0-8615-4360-8231-154324839CF4}" type="presOf" srcId="{0AD723AC-09DF-4486-A78C-5F966962D1F8}" destId="{276E4CA7-DED5-4188-AF17-83B4F5F56C08}" srcOrd="0" destOrd="0" presId="urn:microsoft.com/office/officeart/2005/8/layout/vList4#2"/>
    <dgm:cxn modelId="{7D984984-D1FF-4977-BC10-6C3480B78490}" srcId="{68CBEDB4-5D71-4799-A01C-091E7100446A}" destId="{0AD723AC-09DF-4486-A78C-5F966962D1F8}" srcOrd="1" destOrd="0" parTransId="{CE9E8120-A024-4471-A965-1C0F216458F9}" sibTransId="{36A9F640-2702-48DA-A665-1A1369F909B4}"/>
    <dgm:cxn modelId="{52B40051-B869-4742-BFE4-6DA87F6980C2}" srcId="{68CBEDB4-5D71-4799-A01C-091E7100446A}" destId="{13352562-92BF-4E69-A2A3-64AA80F5679E}" srcOrd="0" destOrd="0" parTransId="{283A07AE-0D45-4FD8-B2AF-135D9D64AF46}" sibTransId="{77DFF5B7-264C-4569-8DF9-3646CC3DEBB9}"/>
    <dgm:cxn modelId="{D7D3DC8E-B24F-4A5E-9513-5B1D572EF6EE}" type="presOf" srcId="{0D29B914-0556-428B-A3FE-9A8C53EE7A15}" destId="{031BF10E-367D-4BFA-9655-86707F91BA7E}" srcOrd="0" destOrd="0" presId="urn:microsoft.com/office/officeart/2005/8/layout/vList4#2"/>
    <dgm:cxn modelId="{7848D9EB-55F7-47ED-BA3A-FD8B136A3BCE}" type="presOf" srcId="{1823F5F9-5448-40CC-8633-C6A9135C82AC}" destId="{EC6BBB65-9E11-4B9A-A333-973E1C3E3312}" srcOrd="1" destOrd="0" presId="urn:microsoft.com/office/officeart/2005/8/layout/vList4#2"/>
    <dgm:cxn modelId="{27CFF967-B89E-4B94-88DA-CC507FE87FCA}" type="presOf" srcId="{7DBD9EA0-9D99-4C3E-81F9-EFAEABE5A51F}" destId="{10A023E1-ECE4-455E-B528-CF658115F981}" srcOrd="0" destOrd="0" presId="urn:microsoft.com/office/officeart/2005/8/layout/vList4#2"/>
    <dgm:cxn modelId="{9D349D17-0E84-4499-B786-03413C5E1BD7}" type="presOf" srcId="{68CBEDB4-5D71-4799-A01C-091E7100446A}" destId="{0A025F1C-4AAE-45FC-A927-E3283CC25B48}" srcOrd="0" destOrd="0" presId="urn:microsoft.com/office/officeart/2005/8/layout/vList4#2"/>
    <dgm:cxn modelId="{C474836C-5561-4F08-B37C-25088E4787B8}" srcId="{68CBEDB4-5D71-4799-A01C-091E7100446A}" destId="{3F8472AA-8846-4410-A465-A9ED83577BEE}" srcOrd="5" destOrd="0" parTransId="{F76AEC26-C906-4239-A141-A22F351BB022}" sibTransId="{729F37A1-07AC-4DAF-92FE-82A7CF86F2C4}"/>
    <dgm:cxn modelId="{AABEAA92-01E8-49AC-B106-B18429F83482}" type="presOf" srcId="{0D29B914-0556-428B-A3FE-9A8C53EE7A15}" destId="{1026436D-0145-489D-86EE-25CA770D9492}" srcOrd="1" destOrd="0" presId="urn:microsoft.com/office/officeart/2005/8/layout/vList4#2"/>
    <dgm:cxn modelId="{D5E1E07C-DD43-4F56-84E6-4108A7C6D839}" srcId="{68CBEDB4-5D71-4799-A01C-091E7100446A}" destId="{0D29B914-0556-428B-A3FE-9A8C53EE7A15}" srcOrd="3" destOrd="0" parTransId="{9E3264B3-256E-4500-904E-E7E50EC773CD}" sibTransId="{B8CD6B11-6605-4C17-BDB1-2C162820178B}"/>
    <dgm:cxn modelId="{4D07AAEE-A230-4AAD-955C-FCC63352F00A}" type="presParOf" srcId="{0A025F1C-4AAE-45FC-A927-E3283CC25B48}" destId="{9769F41A-2BBF-4AE9-92F3-74FF57001190}" srcOrd="0" destOrd="0" presId="urn:microsoft.com/office/officeart/2005/8/layout/vList4#2"/>
    <dgm:cxn modelId="{32252086-543B-4EF2-AC7E-09CB3A60F7BD}" type="presParOf" srcId="{9769F41A-2BBF-4AE9-92F3-74FF57001190}" destId="{50722C34-A323-40C2-9C8C-134F1C1DCD6D}" srcOrd="0" destOrd="0" presId="urn:microsoft.com/office/officeart/2005/8/layout/vList4#2"/>
    <dgm:cxn modelId="{9D81DA52-71B4-465C-9AD2-B43BF66F6D7A}" type="presParOf" srcId="{9769F41A-2BBF-4AE9-92F3-74FF57001190}" destId="{7AA692DF-EDC7-4E38-B472-B73043D265FE}" srcOrd="1" destOrd="0" presId="urn:microsoft.com/office/officeart/2005/8/layout/vList4#2"/>
    <dgm:cxn modelId="{6D7CA5DE-4AE7-4733-BA6D-FB9E8E818CEB}" type="presParOf" srcId="{9769F41A-2BBF-4AE9-92F3-74FF57001190}" destId="{F1BC1648-FFF2-4BB9-9087-3175ECB7EB12}" srcOrd="2" destOrd="0" presId="urn:microsoft.com/office/officeart/2005/8/layout/vList4#2"/>
    <dgm:cxn modelId="{B61E1382-C064-4796-80D8-65C72C4B51D2}" type="presParOf" srcId="{0A025F1C-4AAE-45FC-A927-E3283CC25B48}" destId="{70F12678-DFD0-49A0-B0C5-8BEF5DC9D08A}" srcOrd="1" destOrd="0" presId="urn:microsoft.com/office/officeart/2005/8/layout/vList4#2"/>
    <dgm:cxn modelId="{6CEF56C1-5955-4932-B5A5-C360F3A2C156}" type="presParOf" srcId="{0A025F1C-4AAE-45FC-A927-E3283CC25B48}" destId="{6DABC0EB-A090-47C0-A93F-FA6D94E2F6CF}" srcOrd="2" destOrd="0" presId="urn:microsoft.com/office/officeart/2005/8/layout/vList4#2"/>
    <dgm:cxn modelId="{A8F1D526-7716-4013-A235-EBC48025D7FB}" type="presParOf" srcId="{6DABC0EB-A090-47C0-A93F-FA6D94E2F6CF}" destId="{276E4CA7-DED5-4188-AF17-83B4F5F56C08}" srcOrd="0" destOrd="0" presId="urn:microsoft.com/office/officeart/2005/8/layout/vList4#2"/>
    <dgm:cxn modelId="{2814BF98-B633-44DE-B604-3206EE6A6E5A}" type="presParOf" srcId="{6DABC0EB-A090-47C0-A93F-FA6D94E2F6CF}" destId="{ADC99402-97F7-4AF8-BB31-4182A4E2A0C0}" srcOrd="1" destOrd="0" presId="urn:microsoft.com/office/officeart/2005/8/layout/vList4#2"/>
    <dgm:cxn modelId="{28BA632F-FD4D-4F6D-8D72-940DA91B8354}" type="presParOf" srcId="{6DABC0EB-A090-47C0-A93F-FA6D94E2F6CF}" destId="{AC3D2B41-714A-4D10-94B2-E1CA6456BCB6}" srcOrd="2" destOrd="0" presId="urn:microsoft.com/office/officeart/2005/8/layout/vList4#2"/>
    <dgm:cxn modelId="{4F170A72-31B5-4B95-8DD7-75C82123429E}" type="presParOf" srcId="{0A025F1C-4AAE-45FC-A927-E3283CC25B48}" destId="{65D3E07F-C39C-4A6F-B0C2-83875AB4F30B}" srcOrd="3" destOrd="0" presId="urn:microsoft.com/office/officeart/2005/8/layout/vList4#2"/>
    <dgm:cxn modelId="{FF2B827C-43AB-4148-81DE-F3B63CED53CC}" type="presParOf" srcId="{0A025F1C-4AAE-45FC-A927-E3283CC25B48}" destId="{FC6652D6-A39B-4149-B02D-3D3D3D55B6D4}" srcOrd="4" destOrd="0" presId="urn:microsoft.com/office/officeart/2005/8/layout/vList4#2"/>
    <dgm:cxn modelId="{F66DF99B-B6A9-4221-BD24-217BF57310D0}" type="presParOf" srcId="{FC6652D6-A39B-4149-B02D-3D3D3D55B6D4}" destId="{42AD0288-D823-4B5F-8F4C-628BADB5F2E3}" srcOrd="0" destOrd="0" presId="urn:microsoft.com/office/officeart/2005/8/layout/vList4#2"/>
    <dgm:cxn modelId="{2263DB91-CCE8-4B00-9A91-C2EE1F4E67A0}" type="presParOf" srcId="{FC6652D6-A39B-4149-B02D-3D3D3D55B6D4}" destId="{77A2D0BF-232B-4DD1-B42B-9FBAA613D2A6}" srcOrd="1" destOrd="0" presId="urn:microsoft.com/office/officeart/2005/8/layout/vList4#2"/>
    <dgm:cxn modelId="{62E942C0-156E-42C3-8478-BC87C17634AF}" type="presParOf" srcId="{FC6652D6-A39B-4149-B02D-3D3D3D55B6D4}" destId="{EC6BBB65-9E11-4B9A-A333-973E1C3E3312}" srcOrd="2" destOrd="0" presId="urn:microsoft.com/office/officeart/2005/8/layout/vList4#2"/>
    <dgm:cxn modelId="{073AF652-78FC-47B9-B7E6-08986EFEF7C9}" type="presParOf" srcId="{0A025F1C-4AAE-45FC-A927-E3283CC25B48}" destId="{2BEB9B13-D496-491D-8C17-1207E4D83F24}" srcOrd="5" destOrd="0" presId="urn:microsoft.com/office/officeart/2005/8/layout/vList4#2"/>
    <dgm:cxn modelId="{9D0183B4-2ED6-49C1-B53D-AB7676357F70}" type="presParOf" srcId="{0A025F1C-4AAE-45FC-A927-E3283CC25B48}" destId="{B6BC5AEB-3167-4FB1-9754-38F21443BFA5}" srcOrd="6" destOrd="0" presId="urn:microsoft.com/office/officeart/2005/8/layout/vList4#2"/>
    <dgm:cxn modelId="{3E5A1550-146D-44C4-B438-576A27B6DF14}" type="presParOf" srcId="{B6BC5AEB-3167-4FB1-9754-38F21443BFA5}" destId="{031BF10E-367D-4BFA-9655-86707F91BA7E}" srcOrd="0" destOrd="0" presId="urn:microsoft.com/office/officeart/2005/8/layout/vList4#2"/>
    <dgm:cxn modelId="{6388E5BF-3714-49E7-A40B-EFC37718EFBF}" type="presParOf" srcId="{B6BC5AEB-3167-4FB1-9754-38F21443BFA5}" destId="{F82803CA-67BF-4942-A6FE-6DAFFADB7614}" srcOrd="1" destOrd="0" presId="urn:microsoft.com/office/officeart/2005/8/layout/vList4#2"/>
    <dgm:cxn modelId="{E369E900-C384-4AB6-A8BE-3DF640A2D3B2}" type="presParOf" srcId="{B6BC5AEB-3167-4FB1-9754-38F21443BFA5}" destId="{1026436D-0145-489D-86EE-25CA770D9492}" srcOrd="2" destOrd="0" presId="urn:microsoft.com/office/officeart/2005/8/layout/vList4#2"/>
    <dgm:cxn modelId="{8372FB97-154F-4A88-99F5-216659799341}" type="presParOf" srcId="{0A025F1C-4AAE-45FC-A927-E3283CC25B48}" destId="{D3620787-AAE9-4345-AE44-E7E168B42C55}" srcOrd="7" destOrd="0" presId="urn:microsoft.com/office/officeart/2005/8/layout/vList4#2"/>
    <dgm:cxn modelId="{394752E9-F103-461E-BC11-21963F0A5D20}" type="presParOf" srcId="{0A025F1C-4AAE-45FC-A927-E3283CC25B48}" destId="{B2C2F03A-AC7E-4AA9-A426-085DEDB95612}" srcOrd="8" destOrd="0" presId="urn:microsoft.com/office/officeart/2005/8/layout/vList4#2"/>
    <dgm:cxn modelId="{BC9354F0-2C99-487B-A28E-10E1CB1B8647}" type="presParOf" srcId="{B2C2F03A-AC7E-4AA9-A426-085DEDB95612}" destId="{10A023E1-ECE4-455E-B528-CF658115F981}" srcOrd="0" destOrd="0" presId="urn:microsoft.com/office/officeart/2005/8/layout/vList4#2"/>
    <dgm:cxn modelId="{6C5CDFAF-ECC7-4265-AD2B-B83033BC7009}" type="presParOf" srcId="{B2C2F03A-AC7E-4AA9-A426-085DEDB95612}" destId="{5FBA27B3-2D9E-45FE-B4C6-5FAE9D11F1BF}" srcOrd="1" destOrd="0" presId="urn:microsoft.com/office/officeart/2005/8/layout/vList4#2"/>
    <dgm:cxn modelId="{65AD328B-7587-4BF3-B2A0-689278D2BDC6}" type="presParOf" srcId="{B2C2F03A-AC7E-4AA9-A426-085DEDB95612}" destId="{9FC5FF8C-AE73-479A-9F2A-54120409EED1}" srcOrd="2" destOrd="0" presId="urn:microsoft.com/office/officeart/2005/8/layout/vList4#2"/>
    <dgm:cxn modelId="{3437F7A9-8F5B-4B9E-AA12-BCC156782389}" type="presParOf" srcId="{0A025F1C-4AAE-45FC-A927-E3283CC25B48}" destId="{F0049994-8231-410C-B7B6-96A5B358DF06}" srcOrd="9" destOrd="0" presId="urn:microsoft.com/office/officeart/2005/8/layout/vList4#2"/>
    <dgm:cxn modelId="{57D7F573-F9B8-4846-B38F-5D85BDB125C7}" type="presParOf" srcId="{0A025F1C-4AAE-45FC-A927-E3283CC25B48}" destId="{A14F77E3-861E-42AC-B70A-85C2219829ED}" srcOrd="10" destOrd="0" presId="urn:microsoft.com/office/officeart/2005/8/layout/vList4#2"/>
    <dgm:cxn modelId="{45BAE267-69D7-4A84-AA69-C2D98B843834}" type="presParOf" srcId="{A14F77E3-861E-42AC-B70A-85C2219829ED}" destId="{A281BC3A-1B79-48E5-A79E-456C999A45AC}" srcOrd="0" destOrd="0" presId="urn:microsoft.com/office/officeart/2005/8/layout/vList4#2"/>
    <dgm:cxn modelId="{E815DDC5-1A5B-48CA-9C62-22DB924D1C9C}" type="presParOf" srcId="{A14F77E3-861E-42AC-B70A-85C2219829ED}" destId="{A82FED41-F6DB-45F6-AFB9-A5B4067D2FA1}" srcOrd="1" destOrd="0" presId="urn:microsoft.com/office/officeart/2005/8/layout/vList4#2"/>
    <dgm:cxn modelId="{4BACA511-012C-4884-A5B4-5A249A9E1E46}" type="presParOf" srcId="{A14F77E3-861E-42AC-B70A-85C2219829ED}" destId="{80799208-38D6-4413-BF85-8316F91E1433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8CBEDB4-5D71-4799-A01C-091E7100446A}" type="doc">
      <dgm:prSet loTypeId="urn:microsoft.com/office/officeart/2005/8/layout/vList4#1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13352562-92BF-4E69-A2A3-64AA80F5679E}">
      <dgm:prSet phldrT="[Текст]" custT="1"/>
      <dgm:spPr/>
      <dgm:t>
        <a:bodyPr/>
        <a:lstStyle/>
        <a:p>
          <a:r>
            <a:rPr lang="ru-RU" sz="1200" dirty="0" smtClean="0"/>
            <a:t>Общественный</a:t>
          </a:r>
        </a:p>
        <a:p>
          <a:r>
            <a:rPr lang="ru-RU" sz="1200" dirty="0" smtClean="0"/>
            <a:t>Научная деятельность</a:t>
          </a:r>
        </a:p>
        <a:p>
          <a:r>
            <a:rPr lang="ru-RU" sz="1200" dirty="0" smtClean="0"/>
            <a:t>Личный</a:t>
          </a:r>
          <a:endParaRPr lang="ru-RU" sz="1200" dirty="0"/>
        </a:p>
      </dgm:t>
    </dgm:pt>
    <dgm:pt modelId="{283A07AE-0D45-4FD8-B2AF-135D9D64AF46}" type="parTrans" cxnId="{52B40051-B869-4742-BFE4-6DA87F6980C2}">
      <dgm:prSet/>
      <dgm:spPr/>
      <dgm:t>
        <a:bodyPr/>
        <a:lstStyle/>
        <a:p>
          <a:endParaRPr lang="ru-RU"/>
        </a:p>
      </dgm:t>
    </dgm:pt>
    <dgm:pt modelId="{77DFF5B7-264C-4569-8DF9-3646CC3DEBB9}" type="sibTrans" cxnId="{52B40051-B869-4742-BFE4-6DA87F6980C2}">
      <dgm:prSet/>
      <dgm:spPr/>
      <dgm:t>
        <a:bodyPr/>
        <a:lstStyle/>
        <a:p>
          <a:endParaRPr lang="ru-RU"/>
        </a:p>
      </dgm:t>
    </dgm:pt>
    <dgm:pt modelId="{0AD723AC-09DF-4486-A78C-5F966962D1F8}">
      <dgm:prSet phldrT="[Текст]" custT="1"/>
      <dgm:spPr/>
      <dgm:t>
        <a:bodyPr/>
        <a:lstStyle/>
        <a:p>
          <a:r>
            <a:rPr lang="ru-RU" sz="1400" dirty="0" smtClean="0"/>
            <a:t>Образовательный</a:t>
          </a:r>
        </a:p>
        <a:p>
          <a:r>
            <a:rPr lang="ru-RU" sz="1400" dirty="0" smtClean="0"/>
            <a:t>Личный </a:t>
          </a:r>
          <a:endParaRPr lang="ru-RU" sz="1400" dirty="0"/>
        </a:p>
      </dgm:t>
    </dgm:pt>
    <dgm:pt modelId="{CE9E8120-A024-4471-A965-1C0F216458F9}" type="parTrans" cxnId="{7D984984-D1FF-4977-BC10-6C3480B78490}">
      <dgm:prSet/>
      <dgm:spPr/>
      <dgm:t>
        <a:bodyPr/>
        <a:lstStyle/>
        <a:p>
          <a:endParaRPr lang="ru-RU"/>
        </a:p>
      </dgm:t>
    </dgm:pt>
    <dgm:pt modelId="{36A9F640-2702-48DA-A665-1A1369F909B4}" type="sibTrans" cxnId="{7D984984-D1FF-4977-BC10-6C3480B78490}">
      <dgm:prSet/>
      <dgm:spPr/>
      <dgm:t>
        <a:bodyPr/>
        <a:lstStyle/>
        <a:p>
          <a:endParaRPr lang="ru-RU"/>
        </a:p>
      </dgm:t>
    </dgm:pt>
    <dgm:pt modelId="{1823F5F9-5448-40CC-8633-C6A9135C82AC}">
      <dgm:prSet phldrT="[Текст]" custT="1"/>
      <dgm:spPr/>
      <dgm:t>
        <a:bodyPr/>
        <a:lstStyle/>
        <a:p>
          <a:r>
            <a:rPr lang="ru-RU" sz="1100" dirty="0" smtClean="0"/>
            <a:t>Научный</a:t>
          </a:r>
        </a:p>
        <a:p>
          <a:r>
            <a:rPr lang="ru-RU" sz="1100" dirty="0" smtClean="0"/>
            <a:t>Общественный</a:t>
          </a:r>
        </a:p>
        <a:p>
          <a:r>
            <a:rPr lang="ru-RU" sz="1100" dirty="0" smtClean="0"/>
            <a:t>Изобретательство</a:t>
          </a:r>
          <a:endParaRPr lang="ru-RU" sz="1100" dirty="0"/>
        </a:p>
      </dgm:t>
    </dgm:pt>
    <dgm:pt modelId="{5AC984EA-1FD2-4F83-8B99-32758A45444D}" type="parTrans" cxnId="{D92DB7F9-223F-497F-924B-3F2B2B209DDC}">
      <dgm:prSet/>
      <dgm:spPr/>
      <dgm:t>
        <a:bodyPr/>
        <a:lstStyle/>
        <a:p>
          <a:endParaRPr lang="ru-RU"/>
        </a:p>
      </dgm:t>
    </dgm:pt>
    <dgm:pt modelId="{01A3A92F-497F-4BC1-A587-42F055DCD2D6}" type="sibTrans" cxnId="{D92DB7F9-223F-497F-924B-3F2B2B209DDC}">
      <dgm:prSet/>
      <dgm:spPr/>
      <dgm:t>
        <a:bodyPr/>
        <a:lstStyle/>
        <a:p>
          <a:endParaRPr lang="ru-RU"/>
        </a:p>
      </dgm:t>
    </dgm:pt>
    <dgm:pt modelId="{0D29B914-0556-428B-A3FE-9A8C53EE7A15}">
      <dgm:prSet custT="1"/>
      <dgm:spPr/>
      <dgm:t>
        <a:bodyPr/>
        <a:lstStyle/>
        <a:p>
          <a:r>
            <a:rPr lang="ru-RU" sz="1050" dirty="0" smtClean="0"/>
            <a:t>Личные траты, досуг и отдых.</a:t>
          </a:r>
        </a:p>
        <a:p>
          <a:r>
            <a:rPr lang="ru-RU" sz="1050" dirty="0" smtClean="0"/>
            <a:t>Гражданин и сообщество.</a:t>
          </a:r>
        </a:p>
        <a:p>
          <a:r>
            <a:rPr lang="ru-RU" sz="1050" dirty="0" smtClean="0"/>
            <a:t>Дом и семья.</a:t>
          </a:r>
        </a:p>
        <a:p>
          <a:r>
            <a:rPr lang="ru-RU" sz="1050" dirty="0" smtClean="0"/>
            <a:t>Личный.</a:t>
          </a:r>
        </a:p>
      </dgm:t>
    </dgm:pt>
    <dgm:pt modelId="{9E3264B3-256E-4500-904E-E7E50EC773CD}" type="parTrans" cxnId="{D5E1E07C-DD43-4F56-84E6-4108A7C6D839}">
      <dgm:prSet/>
      <dgm:spPr/>
      <dgm:t>
        <a:bodyPr/>
        <a:lstStyle/>
        <a:p>
          <a:endParaRPr lang="ru-RU"/>
        </a:p>
      </dgm:t>
    </dgm:pt>
    <dgm:pt modelId="{B8CD6B11-6605-4C17-BDB1-2C162820178B}" type="sibTrans" cxnId="{D5E1E07C-DD43-4F56-84E6-4108A7C6D839}">
      <dgm:prSet/>
      <dgm:spPr/>
      <dgm:t>
        <a:bodyPr/>
        <a:lstStyle/>
        <a:p>
          <a:endParaRPr lang="ru-RU"/>
        </a:p>
      </dgm:t>
    </dgm:pt>
    <dgm:pt modelId="{7DBD9EA0-9D99-4C3E-81F9-EFAEABE5A51F}">
      <dgm:prSet custT="1"/>
      <dgm:spPr/>
      <dgm:t>
        <a:bodyPr/>
        <a:lstStyle/>
        <a:p>
          <a:r>
            <a:rPr lang="ru-RU" sz="1200" dirty="0" smtClean="0"/>
            <a:t>Личный</a:t>
          </a:r>
        </a:p>
        <a:p>
          <a:r>
            <a:rPr lang="ru-RU" sz="1200" dirty="0" smtClean="0"/>
            <a:t>Общественный</a:t>
          </a:r>
        </a:p>
      </dgm:t>
    </dgm:pt>
    <dgm:pt modelId="{5C6CE5CB-CF33-4184-A251-79D8E578B96D}" type="parTrans" cxnId="{64691E86-4486-414A-96DF-A48D1496C22F}">
      <dgm:prSet/>
      <dgm:spPr/>
      <dgm:t>
        <a:bodyPr/>
        <a:lstStyle/>
        <a:p>
          <a:endParaRPr lang="ru-RU"/>
        </a:p>
      </dgm:t>
    </dgm:pt>
    <dgm:pt modelId="{CD2A0C98-82D6-49E5-BAB9-68E2C2763D97}" type="sibTrans" cxnId="{64691E86-4486-414A-96DF-A48D1496C22F}">
      <dgm:prSet/>
      <dgm:spPr/>
      <dgm:t>
        <a:bodyPr/>
        <a:lstStyle/>
        <a:p>
          <a:endParaRPr lang="ru-RU"/>
        </a:p>
      </dgm:t>
    </dgm:pt>
    <dgm:pt modelId="{3F8472AA-8846-4410-A465-A9ED83577BEE}">
      <dgm:prSet custT="1"/>
      <dgm:spPr/>
      <dgm:t>
        <a:bodyPr/>
        <a:lstStyle/>
        <a:p>
          <a:r>
            <a:rPr lang="ru-RU" sz="1100" dirty="0" smtClean="0"/>
            <a:t>Общественный</a:t>
          </a:r>
        </a:p>
        <a:p>
          <a:r>
            <a:rPr lang="ru-RU" sz="1100" dirty="0" smtClean="0"/>
            <a:t>Изобретательство</a:t>
          </a:r>
        </a:p>
        <a:p>
          <a:r>
            <a:rPr lang="ru-RU" sz="1100" dirty="0" smtClean="0"/>
            <a:t>Научный</a:t>
          </a:r>
          <a:endParaRPr lang="ru-RU" sz="1100" dirty="0"/>
        </a:p>
      </dgm:t>
    </dgm:pt>
    <dgm:pt modelId="{F76AEC26-C906-4239-A141-A22F351BB022}" type="parTrans" cxnId="{C474836C-5561-4F08-B37C-25088E4787B8}">
      <dgm:prSet/>
      <dgm:spPr/>
      <dgm:t>
        <a:bodyPr/>
        <a:lstStyle/>
        <a:p>
          <a:endParaRPr lang="ru-RU"/>
        </a:p>
      </dgm:t>
    </dgm:pt>
    <dgm:pt modelId="{729F37A1-07AC-4DAF-92FE-82A7CF86F2C4}" type="sibTrans" cxnId="{C474836C-5561-4F08-B37C-25088E4787B8}">
      <dgm:prSet/>
      <dgm:spPr/>
      <dgm:t>
        <a:bodyPr/>
        <a:lstStyle/>
        <a:p>
          <a:endParaRPr lang="ru-RU"/>
        </a:p>
      </dgm:t>
    </dgm:pt>
    <dgm:pt modelId="{0A025F1C-4AAE-45FC-A927-E3283CC25B48}" type="pres">
      <dgm:prSet presAssocID="{68CBEDB4-5D71-4799-A01C-091E7100446A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769F41A-2BBF-4AE9-92F3-74FF57001190}" type="pres">
      <dgm:prSet presAssocID="{13352562-92BF-4E69-A2A3-64AA80F5679E}" presName="comp" presStyleCnt="0"/>
      <dgm:spPr/>
    </dgm:pt>
    <dgm:pt modelId="{50722C34-A323-40C2-9C8C-134F1C1DCD6D}" type="pres">
      <dgm:prSet presAssocID="{13352562-92BF-4E69-A2A3-64AA80F5679E}" presName="box" presStyleLbl="node1" presStyleIdx="0" presStyleCnt="6" custLinFactNeighborX="-1851" custLinFactNeighborY="-11949"/>
      <dgm:spPr/>
      <dgm:t>
        <a:bodyPr/>
        <a:lstStyle/>
        <a:p>
          <a:endParaRPr lang="ru-RU"/>
        </a:p>
      </dgm:t>
    </dgm:pt>
    <dgm:pt modelId="{7AA692DF-EDC7-4E38-B472-B73043D265FE}" type="pres">
      <dgm:prSet presAssocID="{13352562-92BF-4E69-A2A3-64AA80F5679E}" presName="img" presStyleLbl="fgImgPlace1" presStyleIdx="0" presStyleCnt="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1BC1648-FFF2-4BB9-9087-3175ECB7EB12}" type="pres">
      <dgm:prSet presAssocID="{13352562-92BF-4E69-A2A3-64AA80F5679E}" presName="text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F12678-DFD0-49A0-B0C5-8BEF5DC9D08A}" type="pres">
      <dgm:prSet presAssocID="{77DFF5B7-264C-4569-8DF9-3646CC3DEBB9}" presName="spacer" presStyleCnt="0"/>
      <dgm:spPr/>
    </dgm:pt>
    <dgm:pt modelId="{6DABC0EB-A090-47C0-A93F-FA6D94E2F6CF}" type="pres">
      <dgm:prSet presAssocID="{0AD723AC-09DF-4486-A78C-5F966962D1F8}" presName="comp" presStyleCnt="0"/>
      <dgm:spPr/>
    </dgm:pt>
    <dgm:pt modelId="{276E4CA7-DED5-4188-AF17-83B4F5F56C08}" type="pres">
      <dgm:prSet presAssocID="{0AD723AC-09DF-4486-A78C-5F966962D1F8}" presName="box" presStyleLbl="node1" presStyleIdx="1" presStyleCnt="6"/>
      <dgm:spPr/>
      <dgm:t>
        <a:bodyPr/>
        <a:lstStyle/>
        <a:p>
          <a:endParaRPr lang="ru-RU"/>
        </a:p>
      </dgm:t>
    </dgm:pt>
    <dgm:pt modelId="{ADC99402-97F7-4AF8-BB31-4182A4E2A0C0}" type="pres">
      <dgm:prSet presAssocID="{0AD723AC-09DF-4486-A78C-5F966962D1F8}" presName="img" presStyleLbl="fgImgPlace1" presStyleIdx="1" presStyleCnt="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AC3D2B41-714A-4D10-94B2-E1CA6456BCB6}" type="pres">
      <dgm:prSet presAssocID="{0AD723AC-09DF-4486-A78C-5F966962D1F8}" presName="text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D3E07F-C39C-4A6F-B0C2-83875AB4F30B}" type="pres">
      <dgm:prSet presAssocID="{36A9F640-2702-48DA-A665-1A1369F909B4}" presName="spacer" presStyleCnt="0"/>
      <dgm:spPr/>
    </dgm:pt>
    <dgm:pt modelId="{FC6652D6-A39B-4149-B02D-3D3D3D55B6D4}" type="pres">
      <dgm:prSet presAssocID="{1823F5F9-5448-40CC-8633-C6A9135C82AC}" presName="comp" presStyleCnt="0"/>
      <dgm:spPr/>
    </dgm:pt>
    <dgm:pt modelId="{42AD0288-D823-4B5F-8F4C-628BADB5F2E3}" type="pres">
      <dgm:prSet presAssocID="{1823F5F9-5448-40CC-8633-C6A9135C82AC}" presName="box" presStyleLbl="node1" presStyleIdx="2" presStyleCnt="6" custLinFactNeighborX="-1851" custLinFactNeighborY="3137"/>
      <dgm:spPr/>
      <dgm:t>
        <a:bodyPr/>
        <a:lstStyle/>
        <a:p>
          <a:endParaRPr lang="ru-RU"/>
        </a:p>
      </dgm:t>
    </dgm:pt>
    <dgm:pt modelId="{77A2D0BF-232B-4DD1-B42B-9FBAA613D2A6}" type="pres">
      <dgm:prSet presAssocID="{1823F5F9-5448-40CC-8633-C6A9135C82AC}" presName="img" presStyleLbl="fgImgPlace1" presStyleIdx="2" presStyleCnt="6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EC6BBB65-9E11-4B9A-A333-973E1C3E3312}" type="pres">
      <dgm:prSet presAssocID="{1823F5F9-5448-40CC-8633-C6A9135C82AC}" presName="text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EB9B13-D496-491D-8C17-1207E4D83F24}" type="pres">
      <dgm:prSet presAssocID="{01A3A92F-497F-4BC1-A587-42F055DCD2D6}" presName="spacer" presStyleCnt="0"/>
      <dgm:spPr/>
    </dgm:pt>
    <dgm:pt modelId="{B6BC5AEB-3167-4FB1-9754-38F21443BFA5}" type="pres">
      <dgm:prSet presAssocID="{0D29B914-0556-428B-A3FE-9A8C53EE7A15}" presName="comp" presStyleCnt="0"/>
      <dgm:spPr/>
    </dgm:pt>
    <dgm:pt modelId="{031BF10E-367D-4BFA-9655-86707F91BA7E}" type="pres">
      <dgm:prSet presAssocID="{0D29B914-0556-428B-A3FE-9A8C53EE7A15}" presName="box" presStyleLbl="node1" presStyleIdx="3" presStyleCnt="6"/>
      <dgm:spPr/>
      <dgm:t>
        <a:bodyPr/>
        <a:lstStyle/>
        <a:p>
          <a:endParaRPr lang="ru-RU"/>
        </a:p>
      </dgm:t>
    </dgm:pt>
    <dgm:pt modelId="{F82803CA-67BF-4942-A6FE-6DAFFADB7614}" type="pres">
      <dgm:prSet presAssocID="{0D29B914-0556-428B-A3FE-9A8C53EE7A15}" presName="img" presStyleLbl="fgImgPlace1" presStyleIdx="3" presStyleCnt="6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1026436D-0145-489D-86EE-25CA770D9492}" type="pres">
      <dgm:prSet presAssocID="{0D29B914-0556-428B-A3FE-9A8C53EE7A15}" presName="text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620787-AAE9-4345-AE44-E7E168B42C55}" type="pres">
      <dgm:prSet presAssocID="{B8CD6B11-6605-4C17-BDB1-2C162820178B}" presName="spacer" presStyleCnt="0"/>
      <dgm:spPr/>
    </dgm:pt>
    <dgm:pt modelId="{B2C2F03A-AC7E-4AA9-A426-085DEDB95612}" type="pres">
      <dgm:prSet presAssocID="{7DBD9EA0-9D99-4C3E-81F9-EFAEABE5A51F}" presName="comp" presStyleCnt="0"/>
      <dgm:spPr/>
    </dgm:pt>
    <dgm:pt modelId="{10A023E1-ECE4-455E-B528-CF658115F981}" type="pres">
      <dgm:prSet presAssocID="{7DBD9EA0-9D99-4C3E-81F9-EFAEABE5A51F}" presName="box" presStyleLbl="node1" presStyleIdx="4" presStyleCnt="6"/>
      <dgm:spPr/>
      <dgm:t>
        <a:bodyPr/>
        <a:lstStyle/>
        <a:p>
          <a:endParaRPr lang="ru-RU"/>
        </a:p>
      </dgm:t>
    </dgm:pt>
    <dgm:pt modelId="{5FBA27B3-2D9E-45FE-B4C6-5FAE9D11F1BF}" type="pres">
      <dgm:prSet presAssocID="{7DBD9EA0-9D99-4C3E-81F9-EFAEABE5A51F}" presName="img" presStyleLbl="fgImgPlace1" presStyleIdx="4" presStyleCnt="6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9FC5FF8C-AE73-479A-9F2A-54120409EED1}" type="pres">
      <dgm:prSet presAssocID="{7DBD9EA0-9D99-4C3E-81F9-EFAEABE5A51F}" presName="text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049994-8231-410C-B7B6-96A5B358DF06}" type="pres">
      <dgm:prSet presAssocID="{CD2A0C98-82D6-49E5-BAB9-68E2C2763D97}" presName="spacer" presStyleCnt="0"/>
      <dgm:spPr/>
    </dgm:pt>
    <dgm:pt modelId="{A14F77E3-861E-42AC-B70A-85C2219829ED}" type="pres">
      <dgm:prSet presAssocID="{3F8472AA-8846-4410-A465-A9ED83577BEE}" presName="comp" presStyleCnt="0"/>
      <dgm:spPr/>
    </dgm:pt>
    <dgm:pt modelId="{A281BC3A-1B79-48E5-A79E-456C999A45AC}" type="pres">
      <dgm:prSet presAssocID="{3F8472AA-8846-4410-A465-A9ED83577BEE}" presName="box" presStyleLbl="node1" presStyleIdx="5" presStyleCnt="6"/>
      <dgm:spPr/>
      <dgm:t>
        <a:bodyPr/>
        <a:lstStyle/>
        <a:p>
          <a:endParaRPr lang="ru-RU"/>
        </a:p>
      </dgm:t>
    </dgm:pt>
    <dgm:pt modelId="{A82FED41-F6DB-45F6-AFB9-A5B4067D2FA1}" type="pres">
      <dgm:prSet presAssocID="{3F8472AA-8846-4410-A465-A9ED83577BEE}" presName="img" presStyleLbl="fgImgPlace1" presStyleIdx="5" presStyleCnt="6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  <dgm:pt modelId="{80799208-38D6-4413-BF85-8316F91E1433}" type="pres">
      <dgm:prSet presAssocID="{3F8472AA-8846-4410-A465-A9ED83577BEE}" presName="text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2E9FE78-80BF-409A-A23F-221B20711405}" type="presOf" srcId="{3F8472AA-8846-4410-A465-A9ED83577BEE}" destId="{80799208-38D6-4413-BF85-8316F91E1433}" srcOrd="1" destOrd="0" presId="urn:microsoft.com/office/officeart/2005/8/layout/vList4#1"/>
    <dgm:cxn modelId="{64691E86-4486-414A-96DF-A48D1496C22F}" srcId="{68CBEDB4-5D71-4799-A01C-091E7100446A}" destId="{7DBD9EA0-9D99-4C3E-81F9-EFAEABE5A51F}" srcOrd="4" destOrd="0" parTransId="{5C6CE5CB-CF33-4184-A251-79D8E578B96D}" sibTransId="{CD2A0C98-82D6-49E5-BAB9-68E2C2763D97}"/>
    <dgm:cxn modelId="{23A7F6C3-42AE-4308-AD1D-E2CCF4E52CCC}" type="presOf" srcId="{13352562-92BF-4E69-A2A3-64AA80F5679E}" destId="{F1BC1648-FFF2-4BB9-9087-3175ECB7EB12}" srcOrd="1" destOrd="0" presId="urn:microsoft.com/office/officeart/2005/8/layout/vList4#1"/>
    <dgm:cxn modelId="{ACF4281D-CD28-42EF-AD17-01CB29AACD8B}" type="presOf" srcId="{13352562-92BF-4E69-A2A3-64AA80F5679E}" destId="{50722C34-A323-40C2-9C8C-134F1C1DCD6D}" srcOrd="0" destOrd="0" presId="urn:microsoft.com/office/officeart/2005/8/layout/vList4#1"/>
    <dgm:cxn modelId="{54164A09-10EC-4198-95D2-C0E064E1878C}" type="presOf" srcId="{7DBD9EA0-9D99-4C3E-81F9-EFAEABE5A51F}" destId="{9FC5FF8C-AE73-479A-9F2A-54120409EED1}" srcOrd="1" destOrd="0" presId="urn:microsoft.com/office/officeart/2005/8/layout/vList4#1"/>
    <dgm:cxn modelId="{D92DB7F9-223F-497F-924B-3F2B2B209DDC}" srcId="{68CBEDB4-5D71-4799-A01C-091E7100446A}" destId="{1823F5F9-5448-40CC-8633-C6A9135C82AC}" srcOrd="2" destOrd="0" parTransId="{5AC984EA-1FD2-4F83-8B99-32758A45444D}" sibTransId="{01A3A92F-497F-4BC1-A587-42F055DCD2D6}"/>
    <dgm:cxn modelId="{3E116CC2-9B38-4D11-A790-C16BCBDBF2BA}" type="presOf" srcId="{3F8472AA-8846-4410-A465-A9ED83577BEE}" destId="{A281BC3A-1B79-48E5-A79E-456C999A45AC}" srcOrd="0" destOrd="0" presId="urn:microsoft.com/office/officeart/2005/8/layout/vList4#1"/>
    <dgm:cxn modelId="{A54E6C02-587D-48E2-AB50-E058EED1B1C2}" type="presOf" srcId="{0AD723AC-09DF-4486-A78C-5F966962D1F8}" destId="{AC3D2B41-714A-4D10-94B2-E1CA6456BCB6}" srcOrd="1" destOrd="0" presId="urn:microsoft.com/office/officeart/2005/8/layout/vList4#1"/>
    <dgm:cxn modelId="{B3029A8A-6C3A-4A7B-9BA1-62AA851A4F03}" type="presOf" srcId="{1823F5F9-5448-40CC-8633-C6A9135C82AC}" destId="{42AD0288-D823-4B5F-8F4C-628BADB5F2E3}" srcOrd="0" destOrd="0" presId="urn:microsoft.com/office/officeart/2005/8/layout/vList4#1"/>
    <dgm:cxn modelId="{74A0A6B0-8615-4360-8231-154324839CF4}" type="presOf" srcId="{0AD723AC-09DF-4486-A78C-5F966962D1F8}" destId="{276E4CA7-DED5-4188-AF17-83B4F5F56C08}" srcOrd="0" destOrd="0" presId="urn:microsoft.com/office/officeart/2005/8/layout/vList4#1"/>
    <dgm:cxn modelId="{7D984984-D1FF-4977-BC10-6C3480B78490}" srcId="{68CBEDB4-5D71-4799-A01C-091E7100446A}" destId="{0AD723AC-09DF-4486-A78C-5F966962D1F8}" srcOrd="1" destOrd="0" parTransId="{CE9E8120-A024-4471-A965-1C0F216458F9}" sibTransId="{36A9F640-2702-48DA-A665-1A1369F909B4}"/>
    <dgm:cxn modelId="{52B40051-B869-4742-BFE4-6DA87F6980C2}" srcId="{68CBEDB4-5D71-4799-A01C-091E7100446A}" destId="{13352562-92BF-4E69-A2A3-64AA80F5679E}" srcOrd="0" destOrd="0" parTransId="{283A07AE-0D45-4FD8-B2AF-135D9D64AF46}" sibTransId="{77DFF5B7-264C-4569-8DF9-3646CC3DEBB9}"/>
    <dgm:cxn modelId="{D7D3DC8E-B24F-4A5E-9513-5B1D572EF6EE}" type="presOf" srcId="{0D29B914-0556-428B-A3FE-9A8C53EE7A15}" destId="{031BF10E-367D-4BFA-9655-86707F91BA7E}" srcOrd="0" destOrd="0" presId="urn:microsoft.com/office/officeart/2005/8/layout/vList4#1"/>
    <dgm:cxn modelId="{7848D9EB-55F7-47ED-BA3A-FD8B136A3BCE}" type="presOf" srcId="{1823F5F9-5448-40CC-8633-C6A9135C82AC}" destId="{EC6BBB65-9E11-4B9A-A333-973E1C3E3312}" srcOrd="1" destOrd="0" presId="urn:microsoft.com/office/officeart/2005/8/layout/vList4#1"/>
    <dgm:cxn modelId="{27CFF967-B89E-4B94-88DA-CC507FE87FCA}" type="presOf" srcId="{7DBD9EA0-9D99-4C3E-81F9-EFAEABE5A51F}" destId="{10A023E1-ECE4-455E-B528-CF658115F981}" srcOrd="0" destOrd="0" presId="urn:microsoft.com/office/officeart/2005/8/layout/vList4#1"/>
    <dgm:cxn modelId="{9D349D17-0E84-4499-B786-03413C5E1BD7}" type="presOf" srcId="{68CBEDB4-5D71-4799-A01C-091E7100446A}" destId="{0A025F1C-4AAE-45FC-A927-E3283CC25B48}" srcOrd="0" destOrd="0" presId="urn:microsoft.com/office/officeart/2005/8/layout/vList4#1"/>
    <dgm:cxn modelId="{C474836C-5561-4F08-B37C-25088E4787B8}" srcId="{68CBEDB4-5D71-4799-A01C-091E7100446A}" destId="{3F8472AA-8846-4410-A465-A9ED83577BEE}" srcOrd="5" destOrd="0" parTransId="{F76AEC26-C906-4239-A141-A22F351BB022}" sibTransId="{729F37A1-07AC-4DAF-92FE-82A7CF86F2C4}"/>
    <dgm:cxn modelId="{AABEAA92-01E8-49AC-B106-B18429F83482}" type="presOf" srcId="{0D29B914-0556-428B-A3FE-9A8C53EE7A15}" destId="{1026436D-0145-489D-86EE-25CA770D9492}" srcOrd="1" destOrd="0" presId="urn:microsoft.com/office/officeart/2005/8/layout/vList4#1"/>
    <dgm:cxn modelId="{D5E1E07C-DD43-4F56-84E6-4108A7C6D839}" srcId="{68CBEDB4-5D71-4799-A01C-091E7100446A}" destId="{0D29B914-0556-428B-A3FE-9A8C53EE7A15}" srcOrd="3" destOrd="0" parTransId="{9E3264B3-256E-4500-904E-E7E50EC773CD}" sibTransId="{B8CD6B11-6605-4C17-BDB1-2C162820178B}"/>
    <dgm:cxn modelId="{4D07AAEE-A230-4AAD-955C-FCC63352F00A}" type="presParOf" srcId="{0A025F1C-4AAE-45FC-A927-E3283CC25B48}" destId="{9769F41A-2BBF-4AE9-92F3-74FF57001190}" srcOrd="0" destOrd="0" presId="urn:microsoft.com/office/officeart/2005/8/layout/vList4#1"/>
    <dgm:cxn modelId="{32252086-543B-4EF2-AC7E-09CB3A60F7BD}" type="presParOf" srcId="{9769F41A-2BBF-4AE9-92F3-74FF57001190}" destId="{50722C34-A323-40C2-9C8C-134F1C1DCD6D}" srcOrd="0" destOrd="0" presId="urn:microsoft.com/office/officeart/2005/8/layout/vList4#1"/>
    <dgm:cxn modelId="{9D81DA52-71B4-465C-9AD2-B43BF66F6D7A}" type="presParOf" srcId="{9769F41A-2BBF-4AE9-92F3-74FF57001190}" destId="{7AA692DF-EDC7-4E38-B472-B73043D265FE}" srcOrd="1" destOrd="0" presId="urn:microsoft.com/office/officeart/2005/8/layout/vList4#1"/>
    <dgm:cxn modelId="{6D7CA5DE-4AE7-4733-BA6D-FB9E8E818CEB}" type="presParOf" srcId="{9769F41A-2BBF-4AE9-92F3-74FF57001190}" destId="{F1BC1648-FFF2-4BB9-9087-3175ECB7EB12}" srcOrd="2" destOrd="0" presId="urn:microsoft.com/office/officeart/2005/8/layout/vList4#1"/>
    <dgm:cxn modelId="{B61E1382-C064-4796-80D8-65C72C4B51D2}" type="presParOf" srcId="{0A025F1C-4AAE-45FC-A927-E3283CC25B48}" destId="{70F12678-DFD0-49A0-B0C5-8BEF5DC9D08A}" srcOrd="1" destOrd="0" presId="urn:microsoft.com/office/officeart/2005/8/layout/vList4#1"/>
    <dgm:cxn modelId="{6CEF56C1-5955-4932-B5A5-C360F3A2C156}" type="presParOf" srcId="{0A025F1C-4AAE-45FC-A927-E3283CC25B48}" destId="{6DABC0EB-A090-47C0-A93F-FA6D94E2F6CF}" srcOrd="2" destOrd="0" presId="urn:microsoft.com/office/officeart/2005/8/layout/vList4#1"/>
    <dgm:cxn modelId="{A8F1D526-7716-4013-A235-EBC48025D7FB}" type="presParOf" srcId="{6DABC0EB-A090-47C0-A93F-FA6D94E2F6CF}" destId="{276E4CA7-DED5-4188-AF17-83B4F5F56C08}" srcOrd="0" destOrd="0" presId="urn:microsoft.com/office/officeart/2005/8/layout/vList4#1"/>
    <dgm:cxn modelId="{2814BF98-B633-44DE-B604-3206EE6A6E5A}" type="presParOf" srcId="{6DABC0EB-A090-47C0-A93F-FA6D94E2F6CF}" destId="{ADC99402-97F7-4AF8-BB31-4182A4E2A0C0}" srcOrd="1" destOrd="0" presId="urn:microsoft.com/office/officeart/2005/8/layout/vList4#1"/>
    <dgm:cxn modelId="{28BA632F-FD4D-4F6D-8D72-940DA91B8354}" type="presParOf" srcId="{6DABC0EB-A090-47C0-A93F-FA6D94E2F6CF}" destId="{AC3D2B41-714A-4D10-94B2-E1CA6456BCB6}" srcOrd="2" destOrd="0" presId="urn:microsoft.com/office/officeart/2005/8/layout/vList4#1"/>
    <dgm:cxn modelId="{4F170A72-31B5-4B95-8DD7-75C82123429E}" type="presParOf" srcId="{0A025F1C-4AAE-45FC-A927-E3283CC25B48}" destId="{65D3E07F-C39C-4A6F-B0C2-83875AB4F30B}" srcOrd="3" destOrd="0" presId="urn:microsoft.com/office/officeart/2005/8/layout/vList4#1"/>
    <dgm:cxn modelId="{FF2B827C-43AB-4148-81DE-F3B63CED53CC}" type="presParOf" srcId="{0A025F1C-4AAE-45FC-A927-E3283CC25B48}" destId="{FC6652D6-A39B-4149-B02D-3D3D3D55B6D4}" srcOrd="4" destOrd="0" presId="urn:microsoft.com/office/officeart/2005/8/layout/vList4#1"/>
    <dgm:cxn modelId="{F66DF99B-B6A9-4221-BD24-217BF57310D0}" type="presParOf" srcId="{FC6652D6-A39B-4149-B02D-3D3D3D55B6D4}" destId="{42AD0288-D823-4B5F-8F4C-628BADB5F2E3}" srcOrd="0" destOrd="0" presId="urn:microsoft.com/office/officeart/2005/8/layout/vList4#1"/>
    <dgm:cxn modelId="{2263DB91-CCE8-4B00-9A91-C2EE1F4E67A0}" type="presParOf" srcId="{FC6652D6-A39B-4149-B02D-3D3D3D55B6D4}" destId="{77A2D0BF-232B-4DD1-B42B-9FBAA613D2A6}" srcOrd="1" destOrd="0" presId="urn:microsoft.com/office/officeart/2005/8/layout/vList4#1"/>
    <dgm:cxn modelId="{62E942C0-156E-42C3-8478-BC87C17634AF}" type="presParOf" srcId="{FC6652D6-A39B-4149-B02D-3D3D3D55B6D4}" destId="{EC6BBB65-9E11-4B9A-A333-973E1C3E3312}" srcOrd="2" destOrd="0" presId="urn:microsoft.com/office/officeart/2005/8/layout/vList4#1"/>
    <dgm:cxn modelId="{073AF652-78FC-47B9-B7E6-08986EFEF7C9}" type="presParOf" srcId="{0A025F1C-4AAE-45FC-A927-E3283CC25B48}" destId="{2BEB9B13-D496-491D-8C17-1207E4D83F24}" srcOrd="5" destOrd="0" presId="urn:microsoft.com/office/officeart/2005/8/layout/vList4#1"/>
    <dgm:cxn modelId="{9D0183B4-2ED6-49C1-B53D-AB7676357F70}" type="presParOf" srcId="{0A025F1C-4AAE-45FC-A927-E3283CC25B48}" destId="{B6BC5AEB-3167-4FB1-9754-38F21443BFA5}" srcOrd="6" destOrd="0" presId="urn:microsoft.com/office/officeart/2005/8/layout/vList4#1"/>
    <dgm:cxn modelId="{3E5A1550-146D-44C4-B438-576A27B6DF14}" type="presParOf" srcId="{B6BC5AEB-3167-4FB1-9754-38F21443BFA5}" destId="{031BF10E-367D-4BFA-9655-86707F91BA7E}" srcOrd="0" destOrd="0" presId="urn:microsoft.com/office/officeart/2005/8/layout/vList4#1"/>
    <dgm:cxn modelId="{6388E5BF-3714-49E7-A40B-EFC37718EFBF}" type="presParOf" srcId="{B6BC5AEB-3167-4FB1-9754-38F21443BFA5}" destId="{F82803CA-67BF-4942-A6FE-6DAFFADB7614}" srcOrd="1" destOrd="0" presId="urn:microsoft.com/office/officeart/2005/8/layout/vList4#1"/>
    <dgm:cxn modelId="{E369E900-C384-4AB6-A8BE-3DF640A2D3B2}" type="presParOf" srcId="{B6BC5AEB-3167-4FB1-9754-38F21443BFA5}" destId="{1026436D-0145-489D-86EE-25CA770D9492}" srcOrd="2" destOrd="0" presId="urn:microsoft.com/office/officeart/2005/8/layout/vList4#1"/>
    <dgm:cxn modelId="{8372FB97-154F-4A88-99F5-216659799341}" type="presParOf" srcId="{0A025F1C-4AAE-45FC-A927-E3283CC25B48}" destId="{D3620787-AAE9-4345-AE44-E7E168B42C55}" srcOrd="7" destOrd="0" presId="urn:microsoft.com/office/officeart/2005/8/layout/vList4#1"/>
    <dgm:cxn modelId="{394752E9-F103-461E-BC11-21963F0A5D20}" type="presParOf" srcId="{0A025F1C-4AAE-45FC-A927-E3283CC25B48}" destId="{B2C2F03A-AC7E-4AA9-A426-085DEDB95612}" srcOrd="8" destOrd="0" presId="urn:microsoft.com/office/officeart/2005/8/layout/vList4#1"/>
    <dgm:cxn modelId="{BC9354F0-2C99-487B-A28E-10E1CB1B8647}" type="presParOf" srcId="{B2C2F03A-AC7E-4AA9-A426-085DEDB95612}" destId="{10A023E1-ECE4-455E-B528-CF658115F981}" srcOrd="0" destOrd="0" presId="urn:microsoft.com/office/officeart/2005/8/layout/vList4#1"/>
    <dgm:cxn modelId="{6C5CDFAF-ECC7-4265-AD2B-B83033BC7009}" type="presParOf" srcId="{B2C2F03A-AC7E-4AA9-A426-085DEDB95612}" destId="{5FBA27B3-2D9E-45FE-B4C6-5FAE9D11F1BF}" srcOrd="1" destOrd="0" presId="urn:microsoft.com/office/officeart/2005/8/layout/vList4#1"/>
    <dgm:cxn modelId="{65AD328B-7587-4BF3-B2A0-689278D2BDC6}" type="presParOf" srcId="{B2C2F03A-AC7E-4AA9-A426-085DEDB95612}" destId="{9FC5FF8C-AE73-479A-9F2A-54120409EED1}" srcOrd="2" destOrd="0" presId="urn:microsoft.com/office/officeart/2005/8/layout/vList4#1"/>
    <dgm:cxn modelId="{3437F7A9-8F5B-4B9E-AA12-BCC156782389}" type="presParOf" srcId="{0A025F1C-4AAE-45FC-A927-E3283CC25B48}" destId="{F0049994-8231-410C-B7B6-96A5B358DF06}" srcOrd="9" destOrd="0" presId="urn:microsoft.com/office/officeart/2005/8/layout/vList4#1"/>
    <dgm:cxn modelId="{57D7F573-F9B8-4846-B38F-5D85BDB125C7}" type="presParOf" srcId="{0A025F1C-4AAE-45FC-A927-E3283CC25B48}" destId="{A14F77E3-861E-42AC-B70A-85C2219829ED}" srcOrd="10" destOrd="0" presId="urn:microsoft.com/office/officeart/2005/8/layout/vList4#1"/>
    <dgm:cxn modelId="{45BAE267-69D7-4A84-AA69-C2D98B843834}" type="presParOf" srcId="{A14F77E3-861E-42AC-B70A-85C2219829ED}" destId="{A281BC3A-1B79-48E5-A79E-456C999A45AC}" srcOrd="0" destOrd="0" presId="urn:microsoft.com/office/officeart/2005/8/layout/vList4#1"/>
    <dgm:cxn modelId="{E815DDC5-1A5B-48CA-9C62-22DB924D1C9C}" type="presParOf" srcId="{A14F77E3-861E-42AC-B70A-85C2219829ED}" destId="{A82FED41-F6DB-45F6-AFB9-A5B4067D2FA1}" srcOrd="1" destOrd="0" presId="urn:microsoft.com/office/officeart/2005/8/layout/vList4#1"/>
    <dgm:cxn modelId="{4BACA511-012C-4884-A5B4-5A249A9E1E46}" type="presParOf" srcId="{A14F77E3-861E-42AC-B70A-85C2219829ED}" destId="{80799208-38D6-4413-BF85-8316F91E1433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DB9A54-1048-4E87-B49B-0E6E934C6CE7}">
      <dsp:nvSpPr>
        <dsp:cNvPr id="0" name=""/>
        <dsp:cNvSpPr/>
      </dsp:nvSpPr>
      <dsp:spPr>
        <a:xfrm>
          <a:off x="0" y="1566818"/>
          <a:ext cx="2382447" cy="238244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latin typeface="Arial Narrow" panose="020B0606020202030204" pitchFamily="34" charset="0"/>
            </a:rPr>
            <a:t>Национальный инструментарий, разработанный по методологии  </a:t>
          </a:r>
          <a:r>
            <a:rPr lang="en-US" sz="3200" b="1" kern="1200" dirty="0" smtClean="0">
              <a:latin typeface="Arial Narrow" panose="020B0606020202030204" pitchFamily="34" charset="0"/>
            </a:rPr>
            <a:t>PISA</a:t>
          </a:r>
          <a:endParaRPr lang="ru-RU" sz="3200" b="1" kern="1200" dirty="0">
            <a:latin typeface="Arial Narrow" panose="020B0606020202030204" pitchFamily="34" charset="0"/>
          </a:endParaRPr>
        </a:p>
      </dsp:txBody>
      <dsp:txXfrm>
        <a:off x="348901" y="1915719"/>
        <a:ext cx="1684645" cy="1684645"/>
      </dsp:txXfrm>
    </dsp:sp>
    <dsp:sp modelId="{CD659E1A-517E-4C1A-9FA2-E71077B3274C}">
      <dsp:nvSpPr>
        <dsp:cNvPr id="0" name=""/>
        <dsp:cNvSpPr/>
      </dsp:nvSpPr>
      <dsp:spPr>
        <a:xfrm rot="12283936">
          <a:off x="2267951" y="3225591"/>
          <a:ext cx="890447" cy="6789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64C5C11-9EE0-41CE-BB44-2D39B1EBC6C1}">
      <dsp:nvSpPr>
        <dsp:cNvPr id="0" name=""/>
        <dsp:cNvSpPr/>
      </dsp:nvSpPr>
      <dsp:spPr>
        <a:xfrm>
          <a:off x="3307026" y="3417481"/>
          <a:ext cx="1877563" cy="15436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Создание тренажеров</a:t>
          </a:r>
          <a:endParaRPr lang="ru-RU" sz="2400" b="1" kern="1200" dirty="0"/>
        </a:p>
      </dsp:txBody>
      <dsp:txXfrm>
        <a:off x="3352237" y="3462692"/>
        <a:ext cx="1787141" cy="1453183"/>
      </dsp:txXfrm>
    </dsp:sp>
    <dsp:sp modelId="{BAB364DB-DEF1-4B33-A8F7-0A698210C0CC}">
      <dsp:nvSpPr>
        <dsp:cNvPr id="0" name=""/>
        <dsp:cNvSpPr/>
      </dsp:nvSpPr>
      <dsp:spPr>
        <a:xfrm rot="8989816">
          <a:off x="2193738" y="1465733"/>
          <a:ext cx="997321" cy="6789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52BD309-77CA-452F-B077-98E62419AD72}">
      <dsp:nvSpPr>
        <dsp:cNvPr id="0" name=""/>
        <dsp:cNvSpPr/>
      </dsp:nvSpPr>
      <dsp:spPr>
        <a:xfrm>
          <a:off x="3305820" y="115629"/>
          <a:ext cx="1877563" cy="15436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Включение заданий в различные предметы</a:t>
          </a:r>
          <a:endParaRPr lang="ru-RU" sz="2400" b="1" kern="1200" dirty="0"/>
        </a:p>
      </dsp:txBody>
      <dsp:txXfrm>
        <a:off x="3351031" y="160840"/>
        <a:ext cx="1787141" cy="1453183"/>
      </dsp:txXfrm>
    </dsp:sp>
    <dsp:sp modelId="{0BE03C11-4BE4-40FC-A881-5BF14743A104}">
      <dsp:nvSpPr>
        <dsp:cNvPr id="0" name=""/>
        <dsp:cNvSpPr/>
      </dsp:nvSpPr>
      <dsp:spPr>
        <a:xfrm rot="10561210">
          <a:off x="2483919" y="2292619"/>
          <a:ext cx="674035" cy="6789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1D3BD94-5A6F-4BAE-819D-B4EEBED9C47F}">
      <dsp:nvSpPr>
        <dsp:cNvPr id="0" name=""/>
        <dsp:cNvSpPr/>
      </dsp:nvSpPr>
      <dsp:spPr>
        <a:xfrm>
          <a:off x="3305846" y="1766563"/>
          <a:ext cx="1877563" cy="15436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Проведение оценочных процедур</a:t>
          </a:r>
          <a:endParaRPr lang="ru-RU" sz="2400" b="1" kern="1200" dirty="0"/>
        </a:p>
      </dsp:txBody>
      <dsp:txXfrm>
        <a:off x="3351057" y="1811774"/>
        <a:ext cx="1787141" cy="145318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64896A-87E2-46F0-B795-405D862AACBB}">
      <dsp:nvSpPr>
        <dsp:cNvPr id="0" name=""/>
        <dsp:cNvSpPr/>
      </dsp:nvSpPr>
      <dsp:spPr>
        <a:xfrm>
          <a:off x="74813" y="72012"/>
          <a:ext cx="3306757" cy="151510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Внедрение новых учебно-методических материалов</a:t>
          </a: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Изменение учебного процесса</a:t>
          </a: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</dsp:txBody>
      <dsp:txXfrm>
        <a:off x="74813" y="261400"/>
        <a:ext cx="2738593" cy="1136327"/>
      </dsp:txXfrm>
    </dsp:sp>
    <dsp:sp modelId="{C6A7233D-6C60-41D9-A358-B40DF1BCD8E4}">
      <dsp:nvSpPr>
        <dsp:cNvPr id="0" name=""/>
        <dsp:cNvSpPr/>
      </dsp:nvSpPr>
      <dsp:spPr>
        <a:xfrm>
          <a:off x="3440571" y="72012"/>
          <a:ext cx="2304256" cy="151510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Подготовка учителей  </a:t>
          </a:r>
          <a:r>
            <a:rPr lang="ru-RU" sz="1400" b="1" kern="1200" dirty="0" err="1" smtClean="0"/>
            <a:t>Подготока</a:t>
          </a:r>
          <a:r>
            <a:rPr lang="ru-RU" sz="1400" b="1" kern="1200" dirty="0" smtClean="0"/>
            <a:t>  разработчиков учебных задани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Создание  учебно-методических пособий</a:t>
          </a:r>
          <a:endParaRPr lang="ru-RU" sz="1400" b="1" kern="1200" dirty="0"/>
        </a:p>
      </dsp:txBody>
      <dsp:txXfrm>
        <a:off x="3514532" y="145973"/>
        <a:ext cx="2156334" cy="1367181"/>
      </dsp:txXfrm>
    </dsp:sp>
    <dsp:sp modelId="{2E62CCE7-B218-4614-8325-7D998AA7B56E}">
      <dsp:nvSpPr>
        <dsp:cNvPr id="0" name=""/>
        <dsp:cNvSpPr/>
      </dsp:nvSpPr>
      <dsp:spPr>
        <a:xfrm>
          <a:off x="570" y="1868516"/>
          <a:ext cx="3306757" cy="151510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Внедрение формирующего и диагностического оценивания</a:t>
          </a: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Проведение мониторинговых исследований</a:t>
          </a:r>
          <a:endParaRPr lang="ru-RU" sz="1400" b="1" kern="1200" dirty="0"/>
        </a:p>
      </dsp:txBody>
      <dsp:txXfrm>
        <a:off x="570" y="2057904"/>
        <a:ext cx="2738593" cy="1136327"/>
      </dsp:txXfrm>
    </dsp:sp>
    <dsp:sp modelId="{51BB101C-7DC9-485B-9ECE-373820795AA2}">
      <dsp:nvSpPr>
        <dsp:cNvPr id="0" name=""/>
        <dsp:cNvSpPr/>
      </dsp:nvSpPr>
      <dsp:spPr>
        <a:xfrm>
          <a:off x="3440571" y="1656189"/>
          <a:ext cx="2304256" cy="151510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Подготовка специалистов:  разработчиков заданий, </a:t>
          </a:r>
          <a:r>
            <a:rPr lang="ru-RU" sz="1400" b="1" kern="1200" dirty="0" err="1" smtClean="0"/>
            <a:t>психометриков</a:t>
          </a:r>
          <a:endParaRPr lang="ru-RU" sz="1400" b="1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Введение в штат школы специалиста по диагностике</a:t>
          </a:r>
          <a:endParaRPr lang="ru-RU" sz="1400" b="1" kern="1200" dirty="0"/>
        </a:p>
      </dsp:txBody>
      <dsp:txXfrm>
        <a:off x="3514532" y="1730150"/>
        <a:ext cx="2156334" cy="1367181"/>
      </dsp:txXfrm>
    </dsp:sp>
    <dsp:sp modelId="{0EBCFBCB-AE8B-4363-AC88-BB0D534FF095}">
      <dsp:nvSpPr>
        <dsp:cNvPr id="0" name=""/>
        <dsp:cNvSpPr/>
      </dsp:nvSpPr>
      <dsp:spPr>
        <a:xfrm>
          <a:off x="9971" y="3240366"/>
          <a:ext cx="3306757" cy="151510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Формирование функциональной грамотности  по индивидуальной траектории</a:t>
          </a:r>
          <a:endParaRPr lang="ru-RU" sz="1400" b="1" kern="1200" dirty="0"/>
        </a:p>
      </dsp:txBody>
      <dsp:txXfrm>
        <a:off x="9971" y="3429754"/>
        <a:ext cx="2738593" cy="1136327"/>
      </dsp:txXfrm>
    </dsp:sp>
    <dsp:sp modelId="{4757086F-A8CE-4115-8807-736E9711FE6D}">
      <dsp:nvSpPr>
        <dsp:cNvPr id="0" name=""/>
        <dsp:cNvSpPr/>
      </dsp:nvSpPr>
      <dsp:spPr>
        <a:xfrm>
          <a:off x="3440571" y="3240366"/>
          <a:ext cx="2304256" cy="151510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Наличие цифровых устройств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Доступ в интернет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Качество программного обеспечения</a:t>
          </a:r>
          <a:endParaRPr lang="ru-RU" sz="1400" b="1" kern="1200" dirty="0"/>
        </a:p>
      </dsp:txBody>
      <dsp:txXfrm>
        <a:off x="3514532" y="3314327"/>
        <a:ext cx="2156334" cy="13671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A729E4-0795-4AEB-91BB-433B510A6580}">
      <dsp:nvSpPr>
        <dsp:cNvPr id="0" name=""/>
        <dsp:cNvSpPr/>
      </dsp:nvSpPr>
      <dsp:spPr>
        <a:xfrm>
          <a:off x="2410" y="0"/>
          <a:ext cx="2936369" cy="751358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ЦЕЛЬ ИСПОЛЬЗОВАНИЯ</a:t>
          </a:r>
          <a:endParaRPr lang="ru-RU" sz="2000" b="1" kern="1200" dirty="0"/>
        </a:p>
      </dsp:txBody>
      <dsp:txXfrm>
        <a:off x="378089" y="0"/>
        <a:ext cx="2185011" cy="751358"/>
      </dsp:txXfrm>
    </dsp:sp>
    <dsp:sp modelId="{82FE06C7-3DD0-4701-B290-4EAF0052F916}">
      <dsp:nvSpPr>
        <dsp:cNvPr id="0" name=""/>
        <dsp:cNvSpPr/>
      </dsp:nvSpPr>
      <dsp:spPr>
        <a:xfrm>
          <a:off x="2645142" y="0"/>
          <a:ext cx="2936369" cy="751358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ЭФФЕКТ</a:t>
          </a:r>
          <a:endParaRPr lang="ru-RU" sz="2000" b="1" kern="1200" dirty="0"/>
        </a:p>
      </dsp:txBody>
      <dsp:txXfrm>
        <a:off x="3020821" y="0"/>
        <a:ext cx="2185011" cy="751358"/>
      </dsp:txXfrm>
    </dsp:sp>
    <dsp:sp modelId="{95370B56-1612-4631-BB12-581A9DABB21B}">
      <dsp:nvSpPr>
        <dsp:cNvPr id="0" name=""/>
        <dsp:cNvSpPr/>
      </dsp:nvSpPr>
      <dsp:spPr>
        <a:xfrm>
          <a:off x="5287875" y="0"/>
          <a:ext cx="2936369" cy="751358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УСЛОВИЯ ИСПОЛЬЗОВАНИЯ</a:t>
          </a:r>
          <a:endParaRPr lang="ru-RU" sz="2000" b="1" kern="1200" dirty="0"/>
        </a:p>
      </dsp:txBody>
      <dsp:txXfrm>
        <a:off x="5663554" y="0"/>
        <a:ext cx="2185011" cy="75135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A5165E-67D6-4469-863A-842734A92BAB}">
      <dsp:nvSpPr>
        <dsp:cNvPr id="0" name=""/>
        <dsp:cNvSpPr/>
      </dsp:nvSpPr>
      <dsp:spPr>
        <a:xfrm>
          <a:off x="2932531" y="-51902"/>
          <a:ext cx="3805453" cy="3031500"/>
        </a:xfrm>
        <a:prstGeom prst="ellipse">
          <a:avLst/>
        </a:prstGeom>
        <a:solidFill>
          <a:srgbClr val="FFCC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39925" y="478610"/>
        <a:ext cx="2790665" cy="1364175"/>
      </dsp:txXfrm>
    </dsp:sp>
    <dsp:sp modelId="{22BCF64A-6A02-4793-A6ED-DED440A18AE6}">
      <dsp:nvSpPr>
        <dsp:cNvPr id="0" name=""/>
        <dsp:cNvSpPr/>
      </dsp:nvSpPr>
      <dsp:spPr>
        <a:xfrm>
          <a:off x="3227721" y="1616617"/>
          <a:ext cx="4251975" cy="3031500"/>
        </a:xfrm>
        <a:prstGeom prst="ellipse">
          <a:avLst/>
        </a:prstGeom>
        <a:solidFill>
          <a:srgbClr val="FF000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90000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28117" y="2399755"/>
        <a:ext cx="2551185" cy="1667325"/>
      </dsp:txXfrm>
    </dsp:sp>
    <dsp:sp modelId="{4EECC0DA-4D37-41D6-AC54-4EFAD6D48CD5}">
      <dsp:nvSpPr>
        <dsp:cNvPr id="0" name=""/>
        <dsp:cNvSpPr/>
      </dsp:nvSpPr>
      <dsp:spPr>
        <a:xfrm>
          <a:off x="1142894" y="1530922"/>
          <a:ext cx="4364928" cy="3031500"/>
        </a:xfrm>
        <a:prstGeom prst="ellipse">
          <a:avLst/>
        </a:prstGeom>
        <a:solidFill>
          <a:schemeClr val="accent5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53925" y="2314060"/>
        <a:ext cx="2618956" cy="166732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722C34-A323-40C2-9C8C-134F1C1DCD6D}">
      <dsp:nvSpPr>
        <dsp:cNvPr id="0" name=""/>
        <dsp:cNvSpPr/>
      </dsp:nvSpPr>
      <dsp:spPr>
        <a:xfrm>
          <a:off x="0" y="0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Формулировать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именять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Рассуждать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Интерпретировать</a:t>
          </a:r>
          <a:endParaRPr lang="ru-RU" sz="1000" kern="1200" dirty="0"/>
        </a:p>
      </dsp:txBody>
      <dsp:txXfrm>
        <a:off x="2211394" y="0"/>
        <a:ext cx="8482005" cy="727141"/>
      </dsp:txXfrm>
    </dsp:sp>
    <dsp:sp modelId="{7AA692DF-EDC7-4E38-B472-B73043D265FE}">
      <dsp:nvSpPr>
        <dsp:cNvPr id="0" name=""/>
        <dsp:cNvSpPr/>
      </dsp:nvSpPr>
      <dsp:spPr>
        <a:xfrm>
          <a:off x="72714" y="72714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6E4CA7-DED5-4188-AF17-83B4F5F56C08}">
      <dsp:nvSpPr>
        <dsp:cNvPr id="0" name=""/>
        <dsp:cNvSpPr/>
      </dsp:nvSpPr>
      <dsp:spPr>
        <a:xfrm>
          <a:off x="0" y="799855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Находить и извлекать информацию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Интегрировать и интерпретировать информацию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Оценивать содержание и форму текста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Использовать информацию из текста</a:t>
          </a:r>
          <a:endParaRPr lang="ru-RU" sz="1000" kern="1200" dirty="0"/>
        </a:p>
      </dsp:txBody>
      <dsp:txXfrm>
        <a:off x="2211394" y="799855"/>
        <a:ext cx="8482005" cy="727141"/>
      </dsp:txXfrm>
    </dsp:sp>
    <dsp:sp modelId="{ADC99402-97F7-4AF8-BB31-4182A4E2A0C0}">
      <dsp:nvSpPr>
        <dsp:cNvPr id="0" name=""/>
        <dsp:cNvSpPr/>
      </dsp:nvSpPr>
      <dsp:spPr>
        <a:xfrm>
          <a:off x="72714" y="872569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AD0288-D823-4B5F-8F4C-628BADB5F2E3}">
      <dsp:nvSpPr>
        <dsp:cNvPr id="0" name=""/>
        <dsp:cNvSpPr/>
      </dsp:nvSpPr>
      <dsp:spPr>
        <a:xfrm>
          <a:off x="0" y="1599711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Научное объяснение явлений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именение методов естественнонаучного исследования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Интерпретация данных для получения выводов</a:t>
          </a:r>
          <a:endParaRPr lang="ru-RU" sz="1000" kern="1200" dirty="0"/>
        </a:p>
      </dsp:txBody>
      <dsp:txXfrm>
        <a:off x="2211394" y="1599711"/>
        <a:ext cx="8482005" cy="727141"/>
      </dsp:txXfrm>
    </dsp:sp>
    <dsp:sp modelId="{77A2D0BF-232B-4DD1-B42B-9FBAA613D2A6}">
      <dsp:nvSpPr>
        <dsp:cNvPr id="0" name=""/>
        <dsp:cNvSpPr/>
      </dsp:nvSpPr>
      <dsp:spPr>
        <a:xfrm>
          <a:off x="72714" y="1672425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1BF10E-367D-4BFA-9655-86707F91BA7E}">
      <dsp:nvSpPr>
        <dsp:cNvPr id="0" name=""/>
        <dsp:cNvSpPr/>
      </dsp:nvSpPr>
      <dsp:spPr>
        <a:xfrm>
          <a:off x="0" y="2399567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Выявление финансовой информации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Анализ информации в финансовом контексте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Оценка финансовой проблемы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Применение финансовых знаний и понимания</a:t>
          </a:r>
        </a:p>
      </dsp:txBody>
      <dsp:txXfrm>
        <a:off x="2211394" y="2399567"/>
        <a:ext cx="8482005" cy="727141"/>
      </dsp:txXfrm>
    </dsp:sp>
    <dsp:sp modelId="{F82803CA-67BF-4942-A6FE-6DAFFADB7614}">
      <dsp:nvSpPr>
        <dsp:cNvPr id="0" name=""/>
        <dsp:cNvSpPr/>
      </dsp:nvSpPr>
      <dsp:spPr>
        <a:xfrm>
          <a:off x="72714" y="2472281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A023E1-ECE4-455E-B528-CF658115F981}">
      <dsp:nvSpPr>
        <dsp:cNvPr id="0" name=""/>
        <dsp:cNvSpPr/>
      </dsp:nvSpPr>
      <dsp:spPr>
        <a:xfrm>
          <a:off x="0" y="3199423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Выявлять мнения, подходы, перспективы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Анализировать различные мнения, подходы, перспективы 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Объяснять сложные ситуации и проблемы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Оценивать информацию</a:t>
          </a:r>
        </a:p>
      </dsp:txBody>
      <dsp:txXfrm>
        <a:off x="2211394" y="3199423"/>
        <a:ext cx="8482005" cy="727141"/>
      </dsp:txXfrm>
    </dsp:sp>
    <dsp:sp modelId="{5FBA27B3-2D9E-45FE-B4C6-5FAE9D11F1BF}">
      <dsp:nvSpPr>
        <dsp:cNvPr id="0" name=""/>
        <dsp:cNvSpPr/>
      </dsp:nvSpPr>
      <dsp:spPr>
        <a:xfrm>
          <a:off x="72714" y="3272137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81BC3A-1B79-48E5-A79E-456C999A45AC}">
      <dsp:nvSpPr>
        <dsp:cNvPr id="0" name=""/>
        <dsp:cNvSpPr/>
      </dsp:nvSpPr>
      <dsp:spPr>
        <a:xfrm>
          <a:off x="0" y="3999279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Выдвижение разнообразных идей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Отбор креативных идей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Доработка идеи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Выдвижение креативной идеи</a:t>
          </a:r>
        </a:p>
      </dsp:txBody>
      <dsp:txXfrm>
        <a:off x="2211394" y="3999279"/>
        <a:ext cx="8482005" cy="727141"/>
      </dsp:txXfrm>
    </dsp:sp>
    <dsp:sp modelId="{A82FED41-F6DB-45F6-AFB9-A5B4067D2FA1}">
      <dsp:nvSpPr>
        <dsp:cNvPr id="0" name=""/>
        <dsp:cNvSpPr/>
      </dsp:nvSpPr>
      <dsp:spPr>
        <a:xfrm>
          <a:off x="72714" y="4071993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722C34-A323-40C2-9C8C-134F1C1DCD6D}">
      <dsp:nvSpPr>
        <dsp:cNvPr id="0" name=""/>
        <dsp:cNvSpPr/>
      </dsp:nvSpPr>
      <dsp:spPr>
        <a:xfrm>
          <a:off x="0" y="0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бщественный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Научная деятельность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Личный</a:t>
          </a:r>
          <a:endParaRPr lang="ru-RU" sz="1200" kern="1200" dirty="0"/>
        </a:p>
      </dsp:txBody>
      <dsp:txXfrm>
        <a:off x="2211394" y="0"/>
        <a:ext cx="8482005" cy="727141"/>
      </dsp:txXfrm>
    </dsp:sp>
    <dsp:sp modelId="{7AA692DF-EDC7-4E38-B472-B73043D265FE}">
      <dsp:nvSpPr>
        <dsp:cNvPr id="0" name=""/>
        <dsp:cNvSpPr/>
      </dsp:nvSpPr>
      <dsp:spPr>
        <a:xfrm>
          <a:off x="72714" y="72714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6E4CA7-DED5-4188-AF17-83B4F5F56C08}">
      <dsp:nvSpPr>
        <dsp:cNvPr id="0" name=""/>
        <dsp:cNvSpPr/>
      </dsp:nvSpPr>
      <dsp:spPr>
        <a:xfrm>
          <a:off x="0" y="799855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Образовательный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Личный </a:t>
          </a:r>
          <a:endParaRPr lang="ru-RU" sz="1400" kern="1200" dirty="0"/>
        </a:p>
      </dsp:txBody>
      <dsp:txXfrm>
        <a:off x="2211394" y="799855"/>
        <a:ext cx="8482005" cy="727141"/>
      </dsp:txXfrm>
    </dsp:sp>
    <dsp:sp modelId="{ADC99402-97F7-4AF8-BB31-4182A4E2A0C0}">
      <dsp:nvSpPr>
        <dsp:cNvPr id="0" name=""/>
        <dsp:cNvSpPr/>
      </dsp:nvSpPr>
      <dsp:spPr>
        <a:xfrm>
          <a:off x="72714" y="872569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AD0288-D823-4B5F-8F4C-628BADB5F2E3}">
      <dsp:nvSpPr>
        <dsp:cNvPr id="0" name=""/>
        <dsp:cNvSpPr/>
      </dsp:nvSpPr>
      <dsp:spPr>
        <a:xfrm>
          <a:off x="0" y="1622522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Научный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Общественный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Изобретательство</a:t>
          </a:r>
          <a:endParaRPr lang="ru-RU" sz="1100" kern="1200" dirty="0"/>
        </a:p>
      </dsp:txBody>
      <dsp:txXfrm>
        <a:off x="2211394" y="1622522"/>
        <a:ext cx="8482005" cy="727141"/>
      </dsp:txXfrm>
    </dsp:sp>
    <dsp:sp modelId="{77A2D0BF-232B-4DD1-B42B-9FBAA613D2A6}">
      <dsp:nvSpPr>
        <dsp:cNvPr id="0" name=""/>
        <dsp:cNvSpPr/>
      </dsp:nvSpPr>
      <dsp:spPr>
        <a:xfrm>
          <a:off x="72714" y="1672425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1BF10E-367D-4BFA-9655-86707F91BA7E}">
      <dsp:nvSpPr>
        <dsp:cNvPr id="0" name=""/>
        <dsp:cNvSpPr/>
      </dsp:nvSpPr>
      <dsp:spPr>
        <a:xfrm>
          <a:off x="0" y="2399567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Личные траты, досуг и отдых.</a:t>
          </a:r>
        </a:p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Гражданин и сообщество.</a:t>
          </a:r>
        </a:p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Дом и семья.</a:t>
          </a:r>
        </a:p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Личный.</a:t>
          </a:r>
        </a:p>
      </dsp:txBody>
      <dsp:txXfrm>
        <a:off x="2211394" y="2399567"/>
        <a:ext cx="8482005" cy="727141"/>
      </dsp:txXfrm>
    </dsp:sp>
    <dsp:sp modelId="{F82803CA-67BF-4942-A6FE-6DAFFADB7614}">
      <dsp:nvSpPr>
        <dsp:cNvPr id="0" name=""/>
        <dsp:cNvSpPr/>
      </dsp:nvSpPr>
      <dsp:spPr>
        <a:xfrm>
          <a:off x="72714" y="2472281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A023E1-ECE4-455E-B528-CF658115F981}">
      <dsp:nvSpPr>
        <dsp:cNvPr id="0" name=""/>
        <dsp:cNvSpPr/>
      </dsp:nvSpPr>
      <dsp:spPr>
        <a:xfrm>
          <a:off x="0" y="3199423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Личный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бщественный</a:t>
          </a:r>
        </a:p>
      </dsp:txBody>
      <dsp:txXfrm>
        <a:off x="2211394" y="3199423"/>
        <a:ext cx="8482005" cy="727141"/>
      </dsp:txXfrm>
    </dsp:sp>
    <dsp:sp modelId="{5FBA27B3-2D9E-45FE-B4C6-5FAE9D11F1BF}">
      <dsp:nvSpPr>
        <dsp:cNvPr id="0" name=""/>
        <dsp:cNvSpPr/>
      </dsp:nvSpPr>
      <dsp:spPr>
        <a:xfrm>
          <a:off x="72714" y="3272137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81BC3A-1B79-48E5-A79E-456C999A45AC}">
      <dsp:nvSpPr>
        <dsp:cNvPr id="0" name=""/>
        <dsp:cNvSpPr/>
      </dsp:nvSpPr>
      <dsp:spPr>
        <a:xfrm>
          <a:off x="0" y="3999279"/>
          <a:ext cx="10693400" cy="72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Общественный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Изобретательство</a:t>
          </a: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Научный</a:t>
          </a:r>
          <a:endParaRPr lang="ru-RU" sz="1100" kern="1200" dirty="0"/>
        </a:p>
      </dsp:txBody>
      <dsp:txXfrm>
        <a:off x="2211394" y="3999279"/>
        <a:ext cx="8482005" cy="727141"/>
      </dsp:txXfrm>
    </dsp:sp>
    <dsp:sp modelId="{A82FED41-F6DB-45F6-AFB9-A5B4067D2FA1}">
      <dsp:nvSpPr>
        <dsp:cNvPr id="0" name=""/>
        <dsp:cNvSpPr/>
      </dsp:nvSpPr>
      <dsp:spPr>
        <a:xfrm>
          <a:off x="72714" y="4071993"/>
          <a:ext cx="2138680" cy="5817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546F4-3602-4837-BFFD-3E3B4BA3A09D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2738" y="744538"/>
            <a:ext cx="61722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ru-RU" dirty="0" err="1" smtClean="0"/>
              <a:t>Енка</a:t>
            </a:r>
            <a:r>
              <a:rPr lang="ru-RU" dirty="0" smtClean="0"/>
              <a:t> </a:t>
            </a:r>
            <a:r>
              <a:rPr lang="ru-RU" dirty="0" err="1" smtClean="0"/>
              <a:t>стра</a:t>
            </a:r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6E0C06-5FE1-4F23-A7EB-1A222EB9CE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271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7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7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34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7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400" dirty="0" smtClean="0"/>
              <a:t>До 2024 года в целях осуществления прорывного научно-технического и социально-экономического развития страны планируется обеспечение вхождения России в число пяти крупнейших экономик мира, в том числе обеспечение темпов экономического роста выше мировых. Правительству РФ поручено обеспечить глобальную конкурентоспособность российского образования, вхождение Российской Федерации в число 10 ведущих стран мира по качеству общего образования.</a:t>
            </a:r>
          </a:p>
          <a:p>
            <a:endParaRPr lang="ru-RU" sz="1400" dirty="0" smtClean="0"/>
          </a:p>
          <a:p>
            <a:endParaRPr lang="ru-RU" sz="1400" dirty="0" smtClean="0"/>
          </a:p>
          <a:p>
            <a:r>
              <a:rPr lang="ru-RU" sz="1400" dirty="0" smtClean="0"/>
              <a:t>Повышение  качества  общего образования , реализация  указов президента России может быть обеспечена успешной реализацией ФГОС общего образования, т.е. за счет  формирования  функциональной грамотности, достижения планируемых предметных, </a:t>
            </a:r>
            <a:r>
              <a:rPr lang="ru-RU" sz="1400" dirty="0" err="1" smtClean="0"/>
              <a:t>метапредметных</a:t>
            </a:r>
            <a:r>
              <a:rPr lang="ru-RU" sz="1400" dirty="0" smtClean="0"/>
              <a:t> и личностных результатов, если в учебном процессе реализован комплексный </a:t>
            </a:r>
            <a:r>
              <a:rPr lang="ru-RU" sz="1400" dirty="0" err="1" smtClean="0"/>
              <a:t>системно-деятельностный</a:t>
            </a:r>
            <a:r>
              <a:rPr lang="ru-RU" sz="1400" dirty="0" smtClean="0"/>
              <a:t> подход, если процесс обучения идет как процесс решения учащимися различных классов учебно-познавательных и учебно-практических задач, задач на применение или перенос тех знаний и тех умений, которые учитель формирует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12738" y="744538"/>
            <a:ext cx="61722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071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6A88B-A956-BF4F-AD0A-9AA2CEDEB924}" type="slidenum">
              <a:rPr lang="x-none" smtClean="0"/>
              <a:pPr/>
              <a:t>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33097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949">
              <a:defRPr/>
            </a:pPr>
            <a:r>
              <a:rPr lang="ru-RU" sz="1400" b="1" dirty="0" smtClean="0"/>
              <a:t>Типы текста: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Повествов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Рассужде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Опис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Толков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Инструкци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Переговоры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Обсуждение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Множественный тип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pPr defTabSz="914949">
              <a:defRPr/>
            </a:pPr>
            <a:r>
              <a:rPr lang="ru-RU" b="1" dirty="0" smtClean="0"/>
              <a:t>Форматы</a:t>
            </a:r>
            <a:r>
              <a:rPr lang="ru-RU" b="1" baseline="0" dirty="0" smtClean="0"/>
              <a:t> текста:</a:t>
            </a:r>
            <a:endParaRPr lang="ru-RU" b="1" dirty="0" smtClean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Сплошной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err="1" smtClean="0"/>
              <a:t>Несплошной</a:t>
            </a:r>
            <a:endParaRPr lang="ru-RU" dirty="0" smtClean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Множественный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pPr defTabSz="914949">
              <a:defRPr/>
            </a:pPr>
            <a:r>
              <a:rPr lang="ru-RU" b="1" dirty="0" smtClean="0"/>
              <a:t>Ситуации функционирования текста: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Учеб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Делов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Лич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Обществен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Множествен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8973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F41B6D-794E-42B5-8813-1F3292FFB450}" type="slidenum">
              <a:rPr lang="ru-RU"/>
              <a:pPr/>
              <a:t>8</a:t>
            </a:fld>
            <a:endParaRPr lang="ru-RU"/>
          </a:p>
        </p:txBody>
      </p:sp>
      <p:sp>
        <p:nvSpPr>
          <p:cNvPr id="137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7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4"/>
            <a:ext cx="5438140" cy="4466987"/>
          </a:xfrm>
          <a:noFill/>
          <a:ln/>
        </p:spPr>
        <p:txBody>
          <a:bodyPr/>
          <a:lstStyle/>
          <a:p>
            <a:pPr eaLnBrk="1" hangingPunct="1"/>
            <a:endParaRPr lang="ru-RU" sz="1600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 txBox="1">
            <a:spLocks noGrp="1" noChangeArrowheads="1"/>
          </p:cNvSpPr>
          <p:nvPr/>
        </p:nvSpPr>
        <p:spPr bwMode="auto">
          <a:xfrm>
            <a:off x="3852016" y="9430783"/>
            <a:ext cx="2945659" cy="495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fld id="{335CF35D-1303-4B66-B074-34C2880E3D9C}" type="slidenum">
              <a:rPr lang="ru-RU" altLang="ru-RU" sz="1200">
                <a:latin typeface="Times New Roman" panose="02020603050405020304" pitchFamily="18" charset="0"/>
              </a:rPr>
              <a:pPr algn="r"/>
              <a:t>22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7" y="4715153"/>
            <a:ext cx="5887421" cy="507270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/>
          <a:p>
            <a:pPr eaLnBrk="1" hangingPunct="1"/>
            <a:endParaRPr lang="ru-RU" altLang="ru-RU" dirty="0" smtClean="0"/>
          </a:p>
          <a:p>
            <a:pPr eaLnBrk="1" hangingPunct="1"/>
            <a:r>
              <a:rPr lang="ru-RU" altLang="ru-RU" dirty="0" smtClean="0"/>
              <a:t>Квалификация учителя в формировании функциональной грамотности определяется:</a:t>
            </a:r>
          </a:p>
          <a:p>
            <a:r>
              <a:rPr lang="ru-RU" b="1" dirty="0" smtClean="0"/>
              <a:t>(1)</a:t>
            </a:r>
            <a:r>
              <a:rPr lang="ru-RU" dirty="0" smtClean="0"/>
              <a:t> какую часть учащихся – всех, подавляющее большинство или только отдельных детей – учитель может </a:t>
            </a:r>
            <a:r>
              <a:rPr lang="ru-RU" b="1" dirty="0" smtClean="0"/>
              <a:t>включить </a:t>
            </a:r>
            <a:r>
              <a:rPr lang="ru-RU" dirty="0" smtClean="0"/>
              <a:t>в учебный процесс, насколько умело может </a:t>
            </a:r>
            <a:r>
              <a:rPr lang="ru-RU" b="1" dirty="0" smtClean="0"/>
              <a:t>инициировать (</a:t>
            </a:r>
            <a:r>
              <a:rPr lang="ru-RU" dirty="0" smtClean="0"/>
              <a:t>или даже </a:t>
            </a:r>
            <a:r>
              <a:rPr lang="ru-RU" b="1" dirty="0" smtClean="0"/>
              <a:t>спровоцировать) учебную деятельность</a:t>
            </a:r>
            <a:r>
              <a:rPr lang="ru-RU" dirty="0" smtClean="0"/>
              <a:t> детей, появление у них образовательного запроса;</a:t>
            </a:r>
            <a:endParaRPr lang="ru-RU" alt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/>
              <a:t>(2) даёт ли учитель возможность детям обмениваться мнениями по поводу учебного задания, обсуждать пути его решения, полученные результаты, сравнивать эффективность различных способов решения и поощряет ли системой оценки такого рода деятельность (называемую обычно </a:t>
            </a:r>
            <a:r>
              <a:rPr lang="ru-RU" b="1" dirty="0" smtClean="0"/>
              <a:t>учебным сотрудничеством</a:t>
            </a:r>
            <a:r>
              <a:rPr lang="ru-RU" dirty="0" smtClean="0"/>
              <a:t>, позиционным сотрудничеством или </a:t>
            </a:r>
            <a:r>
              <a:rPr lang="ru-RU" b="1" dirty="0" smtClean="0"/>
              <a:t>учением в общении</a:t>
            </a:r>
            <a:r>
              <a:rPr lang="ru-RU" dirty="0" smtClean="0"/>
              <a:t>);</a:t>
            </a:r>
          </a:p>
          <a:p>
            <a:r>
              <a:rPr lang="ru-RU" b="1" dirty="0" smtClean="0"/>
              <a:t>(3)</a:t>
            </a:r>
            <a:r>
              <a:rPr lang="ru-RU" dirty="0" smtClean="0"/>
              <a:t> организует ли учитель </a:t>
            </a:r>
            <a:r>
              <a:rPr lang="ru-RU" b="1" dirty="0" smtClean="0"/>
              <a:t>поисковую активность </a:t>
            </a:r>
            <a:r>
              <a:rPr lang="ru-RU" dirty="0" smtClean="0"/>
              <a:t>детей или тренирует только их исполнительскую дисциплину. </a:t>
            </a:r>
          </a:p>
          <a:p>
            <a:r>
              <a:rPr lang="ru-RU" b="1" dirty="0" smtClean="0"/>
              <a:t>(4)</a:t>
            </a:r>
            <a:r>
              <a:rPr lang="ru-RU" dirty="0" smtClean="0"/>
              <a:t> стимулирует ли учитель становление и развитие </a:t>
            </a:r>
            <a:r>
              <a:rPr lang="ru-RU" b="1" dirty="0" smtClean="0"/>
              <a:t>самостоятельной оценочной деятельности </a:t>
            </a:r>
            <a:r>
              <a:rPr lang="ru-RU" dirty="0" smtClean="0"/>
              <a:t>детей или полностью присваивает себе все функции контроля и оценки. </a:t>
            </a:r>
            <a:endParaRPr lang="ru-RU" alt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/>
          </a:p>
          <a:p>
            <a:r>
              <a:rPr lang="ru-RU" dirty="0" smtClean="0"/>
              <a:t>Главным направлением повышения квалификации учителей в области формирования функциональной грамотности становится разработка различных классов учебных задач и методика формирования различных стратегий их решения.</a:t>
            </a:r>
          </a:p>
          <a:p>
            <a:endParaRPr lang="ru-RU" dirty="0" smtClean="0"/>
          </a:p>
          <a:p>
            <a:r>
              <a:rPr lang="ru-RU" dirty="0" smtClean="0"/>
              <a:t>Каждый учитель  должен проанализировать систему заданий, которые он планирует использовать в учебном процессе. Он должен помнить, что результат его работы заложен им в тех материалах, с которыми он пришел на урок и теми материалами, с которыми дети работают дома при подготовке к уроку. Важно задать вопрос: Какие задания работают на формирование функциональной грамотности? Сколько таких заданий в учебниках и задачниках, по которым работает учитель? Достаточно ли их количества для формирования прочного уровня функциональной грамотности? </a:t>
            </a:r>
          </a:p>
          <a:p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9144705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76606BA-0030-4ECF-A0B2-1D221DE62FE0}" type="slidenum">
              <a:rPr lang="ru-RU" smtClean="0"/>
              <a:pPr/>
              <a:t>27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96953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1066" y="2225605"/>
            <a:ext cx="10098723" cy="1535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82130" y="4059820"/>
            <a:ext cx="8316595" cy="18308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13618" y="286908"/>
            <a:ext cx="2673191" cy="611294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4044" y="286908"/>
            <a:ext cx="7821560" cy="611294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Line">
            <a:extLst>
              <a:ext uri="{FF2B5EF4-FFF2-40B4-BE49-F238E27FC236}">
                <a16:creationId xmlns:a16="http://schemas.microsoft.com/office/drawing/2014/main" id="{20208602-AC7C-4641-9A6F-07A4D8C32F47}"/>
              </a:ext>
            </a:extLst>
          </p:cNvPr>
          <p:cNvSpPr/>
          <p:nvPr userDrawn="1"/>
        </p:nvSpPr>
        <p:spPr>
          <a:xfrm>
            <a:off x="-120999" y="1214188"/>
            <a:ext cx="12123621" cy="1"/>
          </a:xfrm>
          <a:prstGeom prst="line">
            <a:avLst/>
          </a:prstGeom>
          <a:ln w="63500">
            <a:solidFill>
              <a:srgbClr val="FFCC00"/>
            </a:solidFill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585">
              <a:defRPr sz="3200" b="0" cap="none" spc="0">
                <a:ln>
                  <a:noFill/>
                </a:ln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>
              <a:solidFill>
                <a:schemeClr val="tx2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23D82F9-CBA0-744D-BC7C-98E5D6A4D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147" y="0"/>
            <a:ext cx="10956257" cy="119643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defRPr sz="3000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DF9CD4A-4E45-514F-AB06-B975C3B49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05500" y="4658868"/>
            <a:ext cx="3691678" cy="141213"/>
          </a:xfrm>
          <a:prstGeom prst="rect">
            <a:avLst/>
          </a:prstGeom>
        </p:spPr>
        <p:txBody>
          <a:bodyPr anchor="ctr"/>
          <a:lstStyle>
            <a:lvl1pPr algn="l">
              <a:defRPr sz="700" spc="150">
                <a:solidFill>
                  <a:schemeClr val="tx2"/>
                </a:solidFill>
              </a:defRPr>
            </a:lvl1pPr>
          </a:lstStyle>
          <a:p>
            <a:r>
              <a:rPr lang="ru-RU"/>
              <a:t>ЯНДЕКС.УЧЕБНИК ДЛЯ НАЧАЛЬНОЙ ШКОЛЫ</a:t>
            </a:r>
            <a:endParaRPr lang="x-none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F117E17-D9A1-4F4A-B511-4294C0CD1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6911" y="6698785"/>
            <a:ext cx="208857" cy="381437"/>
          </a:xfrm>
          <a:prstGeom prst="rect">
            <a:avLst/>
          </a:prstGeom>
        </p:spPr>
        <p:txBody>
          <a:bodyPr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922B6D4D-164A-9E43-B00A-6F12B8C4E2FE}" type="slidenum">
              <a:rPr lang="x-none" smtClean="0"/>
              <a:pPr/>
              <a:t>‹#›</a:t>
            </a:fld>
            <a:endParaRPr lang="x-none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8464FED-5235-3745-8263-1CA9A2905431}"/>
              </a:ext>
            </a:extLst>
          </p:cNvPr>
          <p:cNvSpPr>
            <a:spLocks noGrp="1"/>
          </p:cNvSpPr>
          <p:nvPr>
            <p:ph type="body" sz="half" idx="28"/>
          </p:nvPr>
        </p:nvSpPr>
        <p:spPr>
          <a:xfrm>
            <a:off x="471092" y="1627189"/>
            <a:ext cx="6765897" cy="5020600"/>
          </a:xfrm>
          <a:prstGeom prst="rect">
            <a:avLst/>
          </a:prstGeom>
        </p:spPr>
        <p:txBody>
          <a:bodyPr wrap="square" lIns="44982">
            <a:noAutofit/>
          </a:bodyPr>
          <a:lstStyle>
            <a:lvl1pPr marL="447496" indent="-447496">
              <a:lnSpc>
                <a:spcPct val="100000"/>
              </a:lnSpc>
              <a:buClr>
                <a:schemeClr val="accent4">
                  <a:lumMod val="75000"/>
                </a:schemeClr>
              </a:buClr>
              <a:buSzPct val="80000"/>
              <a:buFont typeface=".PingFang SC Regular"/>
              <a:buChar char="＞"/>
              <a:tabLst/>
              <a:defRPr sz="2500">
                <a:solidFill>
                  <a:schemeClr val="tx2"/>
                </a:solidFill>
              </a:defRPr>
            </a:lvl1pPr>
            <a:lvl2pPr marL="456994" indent="0">
              <a:buNone/>
              <a:defRPr sz="1400"/>
            </a:lvl2pPr>
            <a:lvl3pPr marL="913989" indent="0">
              <a:buNone/>
              <a:defRPr sz="1200"/>
            </a:lvl3pPr>
            <a:lvl4pPr marL="1370983" indent="0">
              <a:buNone/>
              <a:defRPr sz="1000"/>
            </a:lvl4pPr>
            <a:lvl5pPr marL="1827977" indent="0">
              <a:buNone/>
              <a:defRPr sz="1000"/>
            </a:lvl5pPr>
            <a:lvl6pPr marL="2284971" indent="0">
              <a:buNone/>
              <a:defRPr sz="1000"/>
            </a:lvl6pPr>
            <a:lvl7pPr marL="2741966" indent="0">
              <a:buNone/>
              <a:defRPr sz="1000"/>
            </a:lvl7pPr>
            <a:lvl8pPr marL="3198960" indent="0">
              <a:buNone/>
              <a:defRPr sz="1000"/>
            </a:lvl8pPr>
            <a:lvl9pPr marL="3655954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7420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  <p15:guide id="3" pos="581">
          <p15:clr>
            <a:srgbClr val="FBAE40"/>
          </p15:clr>
        </p15:guide>
        <p15:guide id="4" pos="14756">
          <p15:clr>
            <a:srgbClr val="FBAE40"/>
          </p15:clr>
        </p15:guide>
        <p15:guide id="5" pos="7884">
          <p15:clr>
            <a:srgbClr val="FBAE40"/>
          </p15:clr>
        </p15:guide>
        <p15:guide id="6" pos="7453">
          <p15:clr>
            <a:srgbClr val="FBAE40"/>
          </p15:clr>
        </p15:guide>
        <p15:guide id="7" pos="5434">
          <p15:clr>
            <a:srgbClr val="FBAE40"/>
          </p15:clr>
        </p15:guide>
        <p15:guide id="8" pos="4981">
          <p15:clr>
            <a:srgbClr val="FBAE40"/>
          </p15:clr>
        </p15:guide>
        <p15:guide id="9" pos="2985">
          <p15:clr>
            <a:srgbClr val="FBAE40"/>
          </p15:clr>
        </p15:guide>
        <p15:guide id="10" pos="2509">
          <p15:clr>
            <a:srgbClr val="FBAE40"/>
          </p15:clr>
        </p15:guide>
        <p15:guide id="11" pos="9902">
          <p15:clr>
            <a:srgbClr val="FBAE40"/>
          </p15:clr>
        </p15:guide>
        <p15:guide id="12" pos="10356">
          <p15:clr>
            <a:srgbClr val="FBAE40"/>
          </p15:clr>
        </p15:guide>
        <p15:guide id="13" pos="12374">
          <p15:clr>
            <a:srgbClr val="FBAE40"/>
          </p15:clr>
        </p15:guide>
        <p15:guide id="14" pos="12828">
          <p15:clr>
            <a:srgbClr val="FBAE40"/>
          </p15:clr>
        </p15:guide>
        <p15:guide id="15" orient="horz" pos="1939" userDrawn="1">
          <p15:clr>
            <a:srgbClr val="FBAE40"/>
          </p15:clr>
        </p15:guide>
        <p15:guide id="16" orient="horz" pos="801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00240"/>
              </p:ext>
            </p:extLst>
          </p:nvPr>
        </p:nvGraphicFramePr>
        <p:xfrm>
          <a:off x="1551" y="1660"/>
          <a:ext cx="1547" cy="1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1" y="1660"/>
                        <a:ext cx="1547" cy="16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4701" cy="165842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594043" y="6640325"/>
            <a:ext cx="2772198" cy="381438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064595" y="4099906"/>
            <a:ext cx="5363340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195505" y="5348698"/>
            <a:ext cx="2865755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71119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775005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8508" y="4603785"/>
            <a:ext cx="10098723" cy="1422928"/>
          </a:xfr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38508" y="3036576"/>
            <a:ext cx="10098723" cy="1567210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2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5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5638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7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89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2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94047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39435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5" y="1603698"/>
            <a:ext cx="5249437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94045" y="2272043"/>
            <a:ext cx="5249437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035309" y="1603698"/>
            <a:ext cx="5251501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035309" y="2272043"/>
            <a:ext cx="5251501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6" y="285251"/>
            <a:ext cx="3908718" cy="121396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45084" y="285251"/>
            <a:ext cx="6641725" cy="6114606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94046" y="1499216"/>
            <a:ext cx="3908718" cy="4900641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8730" y="5015073"/>
            <a:ext cx="7128510" cy="592058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28730" y="640151"/>
            <a:ext cx="7128510" cy="4298633"/>
          </a:xfrm>
        </p:spPr>
        <p:txBody>
          <a:bodyPr/>
          <a:lstStyle>
            <a:lvl1pPr marL="0" indent="0">
              <a:buNone/>
              <a:defRPr sz="3600"/>
            </a:lvl1pPr>
            <a:lvl2pPr marL="521284" indent="0">
              <a:buNone/>
              <a:defRPr sz="3200"/>
            </a:lvl2pPr>
            <a:lvl3pPr marL="1042569" indent="0">
              <a:buNone/>
              <a:defRPr sz="2700"/>
            </a:lvl3pPr>
            <a:lvl4pPr marL="1563853" indent="0">
              <a:buNone/>
              <a:defRPr sz="2300"/>
            </a:lvl4pPr>
            <a:lvl5pPr marL="2085137" indent="0">
              <a:buNone/>
              <a:defRPr sz="2300"/>
            </a:lvl5pPr>
            <a:lvl6pPr marL="2606422" indent="0">
              <a:buNone/>
              <a:defRPr sz="2300"/>
            </a:lvl6pPr>
            <a:lvl7pPr marL="3127706" indent="0">
              <a:buNone/>
              <a:defRPr sz="2300"/>
            </a:lvl7pPr>
            <a:lvl8pPr marL="3648990" indent="0">
              <a:buNone/>
              <a:defRPr sz="2300"/>
            </a:lvl8pPr>
            <a:lvl9pPr marL="4170275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28730" y="5607131"/>
            <a:ext cx="7128510" cy="840819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19406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4" y="1671693"/>
            <a:ext cx="10692765" cy="4728165"/>
          </a:xfrm>
          <a:prstGeom prst="rect">
            <a:avLst/>
          </a:prstGeom>
        </p:spPr>
        <p:txBody>
          <a:bodyPr vert="horz" lIns="104257" tIns="52128" rIns="104257" bIns="5212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94043" y="6640325"/>
            <a:ext cx="2772198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0BE020-E3D2-4B40-A05B-7CD782450F67}" type="datetimeFigureOut">
              <a:rPr lang="ru-RU" smtClean="0"/>
              <a:pPr/>
              <a:t>13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59292" y="6640325"/>
            <a:ext cx="3762269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14611" y="6640325"/>
            <a:ext cx="2772198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ctr" defTabSz="1042569" rtl="0" eaLnBrk="1" latinLnBrk="0" hangingPunct="1">
        <a:spcBef>
          <a:spcPct val="0"/>
        </a:spcBef>
        <a:buNone/>
        <a:defRPr sz="5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0964" indent="-390964" algn="l" defTabSz="1042569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087" indent="-325803" algn="l" defTabSz="1042569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211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494" indent="-260643" algn="l" defTabSz="1042569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5779" indent="-260643" algn="l" defTabSz="1042569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06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349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63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0917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84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569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853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137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422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706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99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275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centeroko@mail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trana-oz.ru/2012/4/funkcionalnaya--gramotnost-shkolnikov-i-problemy-vysshey-shkoly" TargetMode="Externa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827857" y="1796244"/>
            <a:ext cx="9721080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/>
              <a:t>Оценка уровня </a:t>
            </a:r>
            <a:r>
              <a:rPr lang="ru-RU" sz="3200" dirty="0" err="1" smtClean="0"/>
              <a:t>сформированности</a:t>
            </a:r>
            <a:r>
              <a:rPr lang="ru-RU" sz="3200" dirty="0" smtClean="0"/>
              <a:t> функциональной грамотности у обучающихся 6 класса. Особенности диагностической работы.</a:t>
            </a:r>
          </a:p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b="1" i="1" dirty="0" smtClean="0"/>
              <a:t/>
            </a:r>
            <a:br>
              <a:rPr lang="ru-RU" sz="3600" b="1" i="1" dirty="0" smtClean="0"/>
            </a:br>
            <a:r>
              <a:rPr lang="ru-RU" sz="3600" i="1" dirty="0" smtClean="0"/>
              <a:t/>
            </a:r>
            <a:br>
              <a:rPr lang="ru-RU" sz="3600" i="1" dirty="0" smtClean="0"/>
            </a:b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852193" cy="127793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225517" y="4582326"/>
            <a:ext cx="9787006" cy="1135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</a:pPr>
            <a:r>
              <a:rPr lang="ru-RU" sz="2800" i="1" dirty="0" smtClean="0"/>
              <a:t>Ковалева Галина Сергеевна, руководитель Центра оценки качества образования Института стратегии развития образования Российской академии образования, к.п.н.</a:t>
            </a:r>
            <a:endParaRPr lang="en-US" sz="2800" b="1" i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диагностической работы 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153302"/>
            <a:ext cx="10692765" cy="5786477"/>
          </a:xfrm>
        </p:spPr>
        <p:txBody>
          <a:bodyPr>
            <a:normAutofit fontScale="70000" lnSpcReduction="20000"/>
          </a:bodyPr>
          <a:lstStyle/>
          <a:p>
            <a:pPr lvl="0"/>
            <a:r>
              <a:rPr lang="ru-RU" b="1" dirty="0" smtClean="0"/>
              <a:t>Цель</a:t>
            </a:r>
            <a:r>
              <a:rPr lang="ru-RU" dirty="0" smtClean="0"/>
              <a:t>: </a:t>
            </a:r>
            <a:r>
              <a:rPr lang="ru-RU" dirty="0"/>
              <a:t>оценить уровень </a:t>
            </a:r>
            <a:r>
              <a:rPr lang="ru-RU" dirty="0" err="1" smtClean="0"/>
              <a:t>сформированности</a:t>
            </a:r>
            <a:r>
              <a:rPr lang="ru-RU" dirty="0" smtClean="0"/>
              <a:t> читательской</a:t>
            </a:r>
            <a:r>
              <a:rPr lang="ru-RU" dirty="0"/>
              <a:t>, </a:t>
            </a:r>
            <a:r>
              <a:rPr lang="ru-RU" dirty="0" smtClean="0"/>
              <a:t>математической, </a:t>
            </a:r>
            <a:r>
              <a:rPr lang="ru-RU" dirty="0"/>
              <a:t>естественнонаучной, финансовой </a:t>
            </a:r>
            <a:r>
              <a:rPr lang="ru-RU" dirty="0" smtClean="0"/>
              <a:t>грамотности, а так же таких направлений как «глобальные компетенции» и «креативное мышление» </a:t>
            </a:r>
            <a:r>
              <a:rPr lang="ru-RU" dirty="0"/>
              <a:t>как </a:t>
            </a:r>
            <a:r>
              <a:rPr lang="ru-RU" dirty="0" smtClean="0"/>
              <a:t>составляющих </a:t>
            </a:r>
            <a:r>
              <a:rPr lang="ru-RU" dirty="0"/>
              <a:t>функциональной </a:t>
            </a:r>
            <a:r>
              <a:rPr lang="ru-RU" dirty="0" smtClean="0"/>
              <a:t>грамотности обучающихся </a:t>
            </a:r>
            <a:r>
              <a:rPr lang="ru-RU" dirty="0"/>
              <a:t>6-х </a:t>
            </a:r>
            <a:r>
              <a:rPr lang="ru-RU" dirty="0" smtClean="0"/>
              <a:t>классов.</a:t>
            </a:r>
            <a:endParaRPr lang="ru-RU" dirty="0"/>
          </a:p>
          <a:p>
            <a:r>
              <a:rPr lang="ru-RU" b="1" dirty="0"/>
              <a:t>Состав варианта </a:t>
            </a:r>
            <a:r>
              <a:rPr lang="ru-RU" dirty="0"/>
              <a:t>(Вариант сформирован по четырем из  шести направлений функциональной грамотности: читательской (ЧГ),  математической (МГ) и естественнонаучной (ЕНГ), финансовой(ФН), глобальным компетенциям (ГК), креативному мышлению (КМ)).</a:t>
            </a:r>
          </a:p>
          <a:p>
            <a:pPr lvl="0"/>
            <a:r>
              <a:rPr lang="ru-RU" b="1" dirty="0"/>
              <a:t>Типы заданий</a:t>
            </a:r>
            <a:r>
              <a:rPr lang="ru-RU" dirty="0"/>
              <a:t>: с выбором одного или нескольких верных ответов; с множественным комплексным выбором; с кратким ответом (в виде букв, слов, цифр); с развернутым ответом; с выбором ответа и пояснением к нему  </a:t>
            </a:r>
          </a:p>
          <a:p>
            <a:r>
              <a:rPr lang="ru-RU" b="1" dirty="0"/>
              <a:t>Система оценивания</a:t>
            </a:r>
            <a:r>
              <a:rPr lang="ru-RU" dirty="0"/>
              <a:t>:  за выполнение заданий – 0, 1 или 2 балла, за работу в целом – суммарный балл и уровень </a:t>
            </a:r>
            <a:r>
              <a:rPr lang="ru-RU" dirty="0" err="1"/>
              <a:t>сформированности</a:t>
            </a:r>
            <a:r>
              <a:rPr lang="ru-RU" dirty="0"/>
              <a:t> функциональной грамотности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6" y="286911"/>
            <a:ext cx="4274810" cy="775005"/>
          </a:xfrm>
        </p:spPr>
        <p:txBody>
          <a:bodyPr>
            <a:noAutofit/>
          </a:bodyPr>
          <a:lstStyle/>
          <a:p>
            <a:r>
              <a:rPr lang="ru-RU" sz="2800" dirty="0" smtClean="0"/>
              <a:t>Пример заданий </a:t>
            </a:r>
            <a:r>
              <a:rPr lang="en-US" sz="2800" dirty="0" smtClean="0"/>
              <a:t>PISA</a:t>
            </a:r>
            <a:br>
              <a:rPr lang="en-US" sz="2800" dirty="0" smtClean="0"/>
            </a:br>
            <a:r>
              <a:rPr lang="ru-RU" sz="2800" dirty="0" smtClean="0"/>
              <a:t> на читательскую грамотность</a:t>
            </a:r>
            <a:endParaRPr lang="ru-RU" sz="2800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/>
          <a:srcRect l="16089" t="6472" r="16911" b="3770"/>
          <a:stretch>
            <a:fillRect/>
          </a:stretch>
        </p:blipFill>
        <p:spPr bwMode="auto">
          <a:xfrm>
            <a:off x="5048760" y="145704"/>
            <a:ext cx="6454208" cy="5187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377882" y="1535369"/>
            <a:ext cx="4486142" cy="1815882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i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итуация: </a:t>
            </a:r>
            <a:r>
              <a:rPr lang="ru-RU" sz="14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щественная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4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рмат текста: </a:t>
            </a:r>
            <a:r>
              <a:rPr lang="ru-RU" sz="14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плошной 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4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ип текста</a:t>
            </a:r>
            <a:r>
              <a:rPr lang="ru-RU" sz="14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рассуждение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4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итательское умение:</a:t>
            </a:r>
            <a:r>
              <a:rPr lang="ru-RU" sz="14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размышление над содержанием и формой текста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400" b="1" i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ип задания: </a:t>
            </a:r>
            <a:r>
              <a:rPr lang="ru-RU" sz="14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ножественный выбор 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4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рудность: </a:t>
            </a:r>
            <a:r>
              <a:rPr lang="ru-RU" sz="14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54 балла по 1000-балльной шкале, </a:t>
            </a:r>
            <a:r>
              <a:rPr lang="ru-RU" sz="1400" i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1400" i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i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 </a:t>
            </a:r>
            <a:r>
              <a:rPr lang="ru-RU" sz="1400" i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ровень </a:t>
            </a:r>
            <a:endParaRPr lang="ru-RU" sz="1400" dirty="0">
              <a:solidFill>
                <a:srgbClr val="FF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77882" y="3573343"/>
            <a:ext cx="4486142" cy="1169551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веты: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) факт</a:t>
            </a:r>
            <a:r>
              <a:rPr lang="ru-RU" sz="14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)</a:t>
            </a:r>
            <a:r>
              <a:rPr lang="ru-RU" sz="14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нение, 3) факт; 4)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акт; 5)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нение</a:t>
            </a:r>
            <a:b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b="1" i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Ответ </a:t>
            </a:r>
            <a:r>
              <a:rPr lang="ru-RU" sz="1400" b="1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инимается полностью (оценка – два балла)</a:t>
            </a:r>
            <a:endParaRPr lang="ru-RU" sz="1400" b="1" i="1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бор: верно выбраны 5 ответов из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</a:t>
            </a:r>
            <a:b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b="1" i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Ответ </a:t>
            </a:r>
            <a:r>
              <a:rPr lang="ru-RU" sz="1400" b="1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инимается частично (оценка – один балл)</a:t>
            </a:r>
            <a:endParaRPr lang="ru-RU" sz="1400" b="1" i="1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бор: верно выбраны 4 ответа из 5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22240" y="5333565"/>
            <a:ext cx="1074180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</a:pPr>
            <a:r>
              <a:rPr lang="ru-RU" sz="1400" b="1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мментарий</a:t>
            </a: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2%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российских учащихся полностью выполнили это задание. Самый низкий результат – 17% (Марокко), самый высокий – </a:t>
            </a:r>
            <a: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71%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США). </a:t>
            </a:r>
          </a:p>
          <a:p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Из учеников, приступивших к выполнению задания, 36% получили 2 балла, 28% – 1 балл.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</a:rPr>
              <a:t>Задание проверяет умение различать факт и мнение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. Первое и последние три утверждения не вызвали больших трудностей у российских учащихся. Их верно квалифицировали от 76% до 89% отвечавших. По второму утверждению результаты ниже – 58%, что вполне объяснимо. Оно содержит «</a:t>
            </a:r>
            <a:r>
              <a:rPr lang="ru-RU" sz="14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фактологическую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» (указание на </a:t>
            </a:r>
            <a:r>
              <a:rPr lang="ru-RU" sz="14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Рапануи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 как на один из примеров, описанных в книге) и «оценочную» часть («самых будоражащих»). В тексте акцент делается на оценке, а более 40% отвечавших обратили внимание на </a:t>
            </a:r>
            <a:r>
              <a:rPr lang="ru-RU" sz="14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фактологическую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 сторону высказывания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5581886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Характеристики заданий и система оценивания</a:t>
            </a:r>
            <a:endParaRPr lang="ru-RU" dirty="0"/>
          </a:p>
        </p:txBody>
      </p:sp>
      <p:pic>
        <p:nvPicPr>
          <p:cNvPr id="1085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1137" y="1296178"/>
            <a:ext cx="10787137" cy="5572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ример оформления заданий в работе</a:t>
            </a:r>
            <a:endParaRPr lang="ru-RU" dirty="0"/>
          </a:p>
        </p:txBody>
      </p:sp>
      <p:pic>
        <p:nvPicPr>
          <p:cNvPr id="96266" name="Picture 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11797" y="1867682"/>
            <a:ext cx="6147148" cy="4296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7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6823" y="1367616"/>
            <a:ext cx="5214974" cy="4286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ример оформления заданий в работе</a:t>
            </a:r>
            <a:endParaRPr lang="ru-RU" dirty="0"/>
          </a:p>
        </p:txBody>
      </p:sp>
      <p:pic>
        <p:nvPicPr>
          <p:cNvPr id="727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1137" y="1296178"/>
            <a:ext cx="10858576" cy="55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а заданий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6366323"/>
              </p:ext>
            </p:extLst>
          </p:nvPr>
        </p:nvGraphicFramePr>
        <p:xfrm>
          <a:off x="593725" y="1671638"/>
          <a:ext cx="10693400" cy="4727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-1" y="863292"/>
            <a:ext cx="11226837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 err="1" smtClean="0"/>
              <a:t>Компетентностная</a:t>
            </a:r>
            <a:r>
              <a:rPr lang="ru-RU" sz="3600" i="1" dirty="0" smtClean="0"/>
              <a:t> область оценки</a:t>
            </a:r>
            <a:endParaRPr lang="ru-RU" sz="3600" i="1" dirty="0"/>
          </a:p>
        </p:txBody>
      </p:sp>
    </p:spTree>
    <p:extLst>
      <p:ext uri="{BB962C8B-B14F-4D97-AF65-F5344CB8AC3E}">
        <p14:creationId xmlns:p14="http://schemas.microsoft.com/office/powerpoint/2010/main" val="314623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а заданий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4931199"/>
              </p:ext>
            </p:extLst>
          </p:nvPr>
        </p:nvGraphicFramePr>
        <p:xfrm>
          <a:off x="593725" y="1671638"/>
          <a:ext cx="10693400" cy="4727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582575" y="896633"/>
            <a:ext cx="9065839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 smtClean="0"/>
              <a:t>Контекст</a:t>
            </a:r>
            <a:endParaRPr lang="ru-RU" sz="3600" i="1" dirty="0"/>
          </a:p>
        </p:txBody>
      </p:sp>
    </p:spTree>
    <p:extLst>
      <p:ext uri="{BB962C8B-B14F-4D97-AF65-F5344CB8AC3E}">
        <p14:creationId xmlns:p14="http://schemas.microsoft.com/office/powerpoint/2010/main" val="3857491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а заданий</a:t>
            </a:r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-2628527" y="896688"/>
            <a:ext cx="10692765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 smtClean="0"/>
              <a:t>Формат ответа</a:t>
            </a:r>
            <a:endParaRPr lang="ru-RU" sz="3600" i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ru-RU" dirty="0"/>
              <a:t>Задание с выбором одного верного ответа</a:t>
            </a:r>
          </a:p>
          <a:p>
            <a:pPr lvl="0"/>
            <a:r>
              <a:rPr lang="ru-RU" dirty="0"/>
              <a:t>Задание с выбором нескольких верных ответов</a:t>
            </a:r>
          </a:p>
          <a:p>
            <a:pPr lvl="0"/>
            <a:r>
              <a:rPr lang="ru-RU" dirty="0"/>
              <a:t>Задание с кратким ответом</a:t>
            </a:r>
          </a:p>
          <a:p>
            <a:pPr lvl="0"/>
            <a:r>
              <a:rPr lang="ru-RU" dirty="0"/>
              <a:t>Задание с несколькими краткими ответами (отдельные поля для ответов)</a:t>
            </a:r>
          </a:p>
          <a:p>
            <a:pPr lvl="0"/>
            <a:r>
              <a:rPr lang="ru-RU" dirty="0"/>
              <a:t>Задание с развернутым ответом (в виде текста, рисунка или и рисунка, и текста)</a:t>
            </a:r>
          </a:p>
          <a:p>
            <a:pPr lvl="0"/>
            <a:r>
              <a:rPr lang="ru-RU" dirty="0"/>
              <a:t>Задание на установление соответствия (две группы объектов)</a:t>
            </a:r>
          </a:p>
          <a:p>
            <a:pPr lvl="0"/>
            <a:r>
              <a:rPr lang="ru-RU" dirty="0"/>
              <a:t>Задание на установление соответствия (несколько групп объектов)</a:t>
            </a:r>
          </a:p>
          <a:p>
            <a:pPr lvl="0"/>
            <a:r>
              <a:rPr lang="ru-RU" dirty="0"/>
              <a:t>Задание на установление последовательности</a:t>
            </a:r>
          </a:p>
          <a:p>
            <a:pPr lvl="0"/>
            <a:r>
              <a:rPr lang="ru-RU" dirty="0"/>
              <a:t>Задание на выделение фрагмента текста</a:t>
            </a:r>
          </a:p>
          <a:p>
            <a:pPr lvl="0"/>
            <a:r>
              <a:rPr lang="ru-RU" dirty="0"/>
              <a:t>Задание с комплексным множественным выбором</a:t>
            </a:r>
          </a:p>
          <a:p>
            <a:pPr lvl="0"/>
            <a:r>
              <a:rPr lang="ru-RU" dirty="0"/>
              <a:t>Комплексное задание с выбором ответа и объяснением</a:t>
            </a:r>
          </a:p>
          <a:p>
            <a:pPr lvl="0"/>
            <a:r>
              <a:rPr lang="ru-RU" dirty="0"/>
              <a:t>Задание с кратким ответом и пояснением к нему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214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а заданий</a:t>
            </a:r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-2628527" y="896688"/>
            <a:ext cx="10692765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 smtClean="0"/>
              <a:t>Уровень сложности</a:t>
            </a:r>
            <a:endParaRPr lang="ru-RU" sz="3600" i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9865" y="1926010"/>
            <a:ext cx="9439275" cy="287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77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а заданий</a:t>
            </a:r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-2628527" y="896688"/>
            <a:ext cx="10692765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 smtClean="0"/>
              <a:t>Способ проверки</a:t>
            </a:r>
            <a:endParaRPr lang="ru-RU" sz="3600" i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9865" y="1998018"/>
            <a:ext cx="9252344" cy="243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111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13" y="296046"/>
            <a:ext cx="10692765" cy="652077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sz="4900" b="0" dirty="0" smtClean="0"/>
              <a:t/>
            </a:r>
            <a:br>
              <a:rPr lang="ru-RU" sz="4900" b="0" dirty="0" smtClean="0"/>
            </a:br>
            <a:r>
              <a:rPr lang="ru-RU" sz="4900" b="0" dirty="0" smtClean="0"/>
              <a:t/>
            </a:r>
            <a:br>
              <a:rPr lang="ru-RU" sz="4900" b="0" dirty="0" smtClean="0"/>
            </a:br>
            <a:r>
              <a:rPr lang="ru-RU" dirty="0" smtClean="0"/>
              <a:t>Что предпринимается на федеральном уровне в рамках национального проекта «Образование» </a:t>
            </a:r>
            <a:r>
              <a:rPr lang="ru-RU" sz="4900" dirty="0" smtClean="0"/>
              <a:t/>
            </a:r>
            <a:br>
              <a:rPr lang="ru-RU" sz="4900" dirty="0" smtClean="0"/>
            </a:br>
            <a:r>
              <a:rPr lang="ru-RU" b="0" dirty="0" smtClean="0"/>
              <a:t/>
            </a:r>
            <a:br>
              <a:rPr lang="ru-RU" b="0" dirty="0" smtClean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5" y="1724807"/>
            <a:ext cx="10692765" cy="4675052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ru-RU" dirty="0" smtClean="0"/>
              <a:t>Инициирован проект « Мониторинг формирования функциональной грамотности обучающихся» по разработке национального инструментария по методологии международных исследований</a:t>
            </a:r>
          </a:p>
          <a:p>
            <a:pPr lvl="0"/>
            <a:r>
              <a:rPr lang="ru-RU" dirty="0" smtClean="0"/>
              <a:t>Регулярное информирование страны о результатах выпускников основной школы - отслеживание результатов российских учащихся по методологии </a:t>
            </a:r>
            <a:r>
              <a:rPr lang="en-US" dirty="0" smtClean="0"/>
              <a:t>PISA</a:t>
            </a:r>
            <a:r>
              <a:rPr lang="ru-RU" dirty="0" smtClean="0"/>
              <a:t> (</a:t>
            </a:r>
            <a:r>
              <a:rPr lang="en-US" dirty="0" smtClean="0"/>
              <a:t>PISA for schools</a:t>
            </a:r>
            <a:r>
              <a:rPr lang="ru-RU" dirty="0" smtClean="0"/>
              <a:t>)</a:t>
            </a:r>
          </a:p>
          <a:p>
            <a:pPr lvl="0"/>
            <a:r>
              <a:rPr lang="ru-RU" dirty="0" smtClean="0"/>
              <a:t>Обеспечение поддержки школ с низкими результатами (проект 500+)</a:t>
            </a:r>
          </a:p>
          <a:p>
            <a:endParaRPr lang="ru-RU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385" y="286910"/>
            <a:ext cx="11501517" cy="775005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Что подготовлено к 2020</a:t>
            </a:r>
            <a:r>
              <a:rPr lang="en-US" dirty="0" smtClean="0"/>
              <a:t>/</a:t>
            </a:r>
            <a:r>
              <a:rPr lang="ru-RU" dirty="0" smtClean="0"/>
              <a:t>2021 учебному году </a:t>
            </a:r>
            <a:br>
              <a:rPr lang="ru-RU" dirty="0" smtClean="0"/>
            </a:br>
            <a:r>
              <a:rPr lang="en-US" dirty="0" smtClean="0"/>
              <a:t>http://skiv.instrao.ru/bank-zadaniy/finansovaya-gramotnost/</a:t>
            </a:r>
            <a:endParaRPr lang="ru-RU" dirty="0"/>
          </a:p>
        </p:txBody>
      </p:sp>
      <p:pic>
        <p:nvPicPr>
          <p:cNvPr id="4833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4079" y="1510492"/>
            <a:ext cx="9929882" cy="5357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Проблемы разграничения: </a:t>
            </a:r>
            <a:br>
              <a:rPr lang="ru-RU" sz="2800" b="1" dirty="0" smtClean="0">
                <a:solidFill>
                  <a:schemeClr val="tx1"/>
                </a:solidFill>
              </a:rPr>
            </a:br>
            <a:r>
              <a:rPr lang="ru-RU" sz="2800" b="1" dirty="0" smtClean="0">
                <a:solidFill>
                  <a:schemeClr val="tx1"/>
                </a:solidFill>
              </a:rPr>
              <a:t>формирование функциональной грамотности и </a:t>
            </a:r>
            <a:br>
              <a:rPr lang="ru-RU" sz="2800" b="1" dirty="0" smtClean="0">
                <a:solidFill>
                  <a:schemeClr val="tx1"/>
                </a:solidFill>
              </a:rPr>
            </a:br>
            <a:r>
              <a:rPr lang="ru-RU" sz="2800" b="1" dirty="0" smtClean="0">
                <a:solidFill>
                  <a:schemeClr val="tx1"/>
                </a:solidFill>
              </a:rPr>
              <a:t>оценка функциональной грамотности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ЯНДЕКС.УЧЕБНИК ДЛЯ НАЧАЛЬНОЙ ШКОЛЫ</a:t>
            </a:r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2B6D4D-164A-9E43-B00A-6F12B8C4E2FE}" type="slidenum">
              <a:rPr lang="x-none" smtClean="0"/>
              <a:pPr/>
              <a:t>21</a:t>
            </a:fld>
            <a:endParaRPr lang="x-none"/>
          </a:p>
        </p:txBody>
      </p:sp>
      <p:sp>
        <p:nvSpPr>
          <p:cNvPr id="5" name="Текст 4"/>
          <p:cNvSpPr>
            <a:spLocks noGrp="1"/>
          </p:cNvSpPr>
          <p:nvPr>
            <p:ph type="body" sz="half" idx="28"/>
          </p:nvPr>
        </p:nvSpPr>
        <p:spPr>
          <a:xfrm>
            <a:off x="7930983" y="1588106"/>
            <a:ext cx="3483420" cy="1623927"/>
          </a:xfrm>
        </p:spPr>
        <p:txBody>
          <a:bodyPr/>
          <a:lstStyle/>
          <a:p>
            <a:pPr marL="0" indent="0" algn="ctr">
              <a:buNone/>
            </a:pPr>
            <a:r>
              <a:rPr lang="ru-RU" sz="1600" dirty="0" smtClean="0">
                <a:solidFill>
                  <a:schemeClr val="accent5">
                    <a:lumMod val="75000"/>
                  </a:schemeClr>
                </a:solidFill>
              </a:rPr>
              <a:t>Основной критерий оценки функциональной грамотности: способность применять знания в различных нетипичных ситуациях, поиск новых решений и способов действий.</a:t>
            </a:r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965382" y="5452895"/>
            <a:ext cx="9591935" cy="48558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965383" y="3573804"/>
            <a:ext cx="1868880" cy="17331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35174" tIns="17587" rIns="35174" bIns="175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2000" b="1" dirty="0" smtClean="0">
                <a:solidFill>
                  <a:schemeClr val="tx1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Стартовая диагностика</a:t>
            </a:r>
            <a:endParaRPr lang="ru-RU" sz="20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157411" y="3561273"/>
            <a:ext cx="2608387" cy="17331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35174" tIns="17587" rIns="35174" bIns="175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2000" b="1" dirty="0" smtClean="0">
                <a:solidFill>
                  <a:schemeClr val="tx1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Формирующая оценка</a:t>
            </a:r>
            <a:endParaRPr lang="ru-RU" sz="20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180993" y="3524193"/>
            <a:ext cx="2568163" cy="17331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35174" tIns="17587" rIns="35174" bIns="175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2000" b="1" dirty="0" smtClean="0">
                <a:solidFill>
                  <a:schemeClr val="tx1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Оценка </a:t>
            </a:r>
            <a:r>
              <a:rPr lang="ru-RU" sz="2000" b="1" dirty="0" err="1" smtClean="0">
                <a:solidFill>
                  <a:schemeClr val="tx1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сформированности</a:t>
            </a:r>
            <a:r>
              <a:rPr lang="ru-RU" sz="2000" b="1" dirty="0" smtClean="0">
                <a:solidFill>
                  <a:schemeClr val="tx1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 функциональной грамотности</a:t>
            </a:r>
            <a:endParaRPr lang="ru-RU" sz="20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Текст 4"/>
          <p:cNvSpPr txBox="1">
            <a:spLocks/>
          </p:cNvSpPr>
          <p:nvPr/>
        </p:nvSpPr>
        <p:spPr>
          <a:xfrm>
            <a:off x="965383" y="5910700"/>
            <a:ext cx="9438464" cy="953317"/>
          </a:xfrm>
          <a:prstGeom prst="rect">
            <a:avLst/>
          </a:prstGeom>
        </p:spPr>
        <p:txBody>
          <a:bodyPr wrap="square" lIns="44982" tIns="22851" rIns="45702" bIns="22851">
            <a:noAutofit/>
          </a:bodyPr>
          <a:lstStyle>
            <a:lvl1pPr marL="895350" indent="-895350" algn="l" defTabSz="1828709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4">
                  <a:lumMod val="75000"/>
                </a:schemeClr>
              </a:buClr>
              <a:buSzPct val="80000"/>
              <a:buFont typeface=".PingFang SC Regular"/>
              <a:buChar char="＞"/>
              <a:tabLst/>
              <a:defRPr sz="5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54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2000" i="1" dirty="0" smtClean="0"/>
              <a:t>Учебный процесс – </a:t>
            </a:r>
            <a:r>
              <a:rPr lang="ru-RU" sz="2000" b="1" i="1" dirty="0" smtClean="0"/>
              <a:t>формирование </a:t>
            </a:r>
            <a:r>
              <a:rPr lang="ru-RU" sz="2000" i="1" dirty="0" smtClean="0"/>
              <a:t>функциональной грамотности</a:t>
            </a:r>
            <a:endParaRPr lang="ru-RU" sz="2000" i="1" dirty="0"/>
          </a:p>
        </p:txBody>
      </p:sp>
      <p:sp>
        <p:nvSpPr>
          <p:cNvPr id="12" name="Текст 4"/>
          <p:cNvSpPr txBox="1">
            <a:spLocks/>
          </p:cNvSpPr>
          <p:nvPr/>
        </p:nvSpPr>
        <p:spPr>
          <a:xfrm>
            <a:off x="8180993" y="5910700"/>
            <a:ext cx="2697848" cy="953317"/>
          </a:xfrm>
          <a:prstGeom prst="rect">
            <a:avLst/>
          </a:prstGeom>
        </p:spPr>
        <p:txBody>
          <a:bodyPr wrap="square" lIns="44982" tIns="22851" rIns="45702" bIns="22851">
            <a:noAutofit/>
          </a:bodyPr>
          <a:lstStyle>
            <a:lvl1pPr marL="895350" indent="-895350" algn="l" defTabSz="1828709" rtl="0" eaLnBrk="1" latinLnBrk="0" hangingPunct="1">
              <a:lnSpc>
                <a:spcPct val="100000"/>
              </a:lnSpc>
              <a:spcBef>
                <a:spcPts val="2000"/>
              </a:spcBef>
              <a:buClr>
                <a:schemeClr val="accent4">
                  <a:lumMod val="75000"/>
                </a:schemeClr>
              </a:buClr>
              <a:buSzPct val="80000"/>
              <a:buFont typeface=".PingFang SC Regular"/>
              <a:buChar char="＞"/>
              <a:tabLst/>
              <a:defRPr sz="5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54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09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063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417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771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126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480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834" indent="0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endParaRPr lang="ru-RU" sz="2000" i="1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58147" y="1432878"/>
            <a:ext cx="7116388" cy="2908470"/>
          </a:xfrm>
          <a:prstGeom prst="rect">
            <a:avLst/>
          </a:prstGeom>
        </p:spPr>
        <p:txBody>
          <a:bodyPr wrap="square" lIns="45702" tIns="22851" rIns="45702" bIns="22851">
            <a:spAutoFit/>
          </a:bodyPr>
          <a:lstStyle/>
          <a:p>
            <a:r>
              <a:rPr lang="ru-RU" sz="1800" b="1" dirty="0" smtClean="0">
                <a:solidFill>
                  <a:srgbClr val="6C276A"/>
                </a:solidFill>
              </a:rPr>
              <a:t>Ложная установка: </a:t>
            </a:r>
            <a:r>
              <a:rPr lang="ru-RU" sz="1800" dirty="0" smtClean="0">
                <a:solidFill>
                  <a:srgbClr val="6C276A"/>
                </a:solidFill>
              </a:rPr>
              <a:t>"В каждый предмет надо включить задачи по функциональной грамотности". Массово появляются так называемые «PISA-подобные» задания и разворачиваются программы повышения квалификации учителей. </a:t>
            </a:r>
          </a:p>
          <a:p>
            <a:endParaRPr lang="ru-RU" sz="1800" b="1" dirty="0" smtClean="0">
              <a:solidFill>
                <a:srgbClr val="6C276A"/>
              </a:solidFill>
            </a:endParaRPr>
          </a:p>
          <a:p>
            <a:r>
              <a:rPr lang="ru-RU" sz="1800" b="1" dirty="0" smtClean="0">
                <a:solidFill>
                  <a:srgbClr val="6C276A"/>
                </a:solidFill>
              </a:rPr>
              <a:t>Важно</a:t>
            </a:r>
            <a:r>
              <a:rPr lang="ru-RU" sz="1800" dirty="0" smtClean="0">
                <a:solidFill>
                  <a:srgbClr val="6C276A"/>
                </a:solidFill>
              </a:rPr>
              <a:t>: формирования функциональной грамотности – это не натаскивание на образцы оценки</a:t>
            </a:r>
          </a:p>
          <a:p>
            <a:endParaRPr lang="ru-RU" sz="2000" dirty="0" smtClean="0">
              <a:solidFill>
                <a:srgbClr val="6C276A"/>
              </a:solidFill>
            </a:endParaRPr>
          </a:p>
          <a:p>
            <a:endParaRPr lang="ru-RU" sz="2000" dirty="0" smtClean="0">
              <a:solidFill>
                <a:srgbClr val="6C276A"/>
              </a:solidFill>
            </a:endParaRPr>
          </a:p>
          <a:p>
            <a:endParaRPr lang="ru-RU" sz="2000" dirty="0">
              <a:solidFill>
                <a:srgbClr val="6C27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44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6"/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84185" indent="-340071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60284" indent="-27205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904398" indent="-27205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48512" indent="-27205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992625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536739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4080853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624967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09EC3C6-6073-464D-B2D9-44D135E925F5}" type="slidenum">
              <a:rPr lang="ru-RU" altLang="ru-RU">
                <a:latin typeface="Times New Roman" panose="02020603050405020304" pitchFamily="18" charset="0"/>
              </a:rPr>
              <a:pPr/>
              <a:t>22</a:t>
            </a:fld>
            <a:endParaRPr lang="ru-RU" altLang="ru-RU">
              <a:latin typeface="Times New Roman" panose="02020603050405020304" pitchFamily="18" charset="0"/>
            </a:endParaRPr>
          </a:p>
        </p:txBody>
      </p:sp>
      <p:sp>
        <p:nvSpPr>
          <p:cNvPr id="8195" name="Text Box 2"/>
          <p:cNvSpPr txBox="1">
            <a:spLocks noChangeArrowheads="1"/>
          </p:cNvSpPr>
          <p:nvPr/>
        </p:nvSpPr>
        <p:spPr bwMode="auto">
          <a:xfrm>
            <a:off x="12751287" y="6809485"/>
            <a:ext cx="219836" cy="556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823" tIns="54411" rIns="108823" bIns="5441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ru-RU" altLang="ru-RU" sz="2900" dirty="0">
              <a:latin typeface="Times New Roman" panose="02020603050405020304" pitchFamily="18" charset="0"/>
            </a:endParaRPr>
          </a:p>
        </p:txBody>
      </p:sp>
      <p:sp>
        <p:nvSpPr>
          <p:cNvPr id="8196" name="Rectangle 21"/>
          <p:cNvSpPr>
            <a:spLocks noGrp="1" noChangeArrowheads="1"/>
          </p:cNvSpPr>
          <p:nvPr>
            <p:ph type="body" idx="1"/>
          </p:nvPr>
        </p:nvSpPr>
        <p:spPr>
          <a:xfrm>
            <a:off x="701043" y="413842"/>
            <a:ext cx="9636721" cy="6408712"/>
          </a:xfrm>
        </p:spPr>
        <p:txBody>
          <a:bodyPr>
            <a:normAutofit fontScale="47500" lnSpcReduction="20000"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ru-RU" sz="5800" b="1" dirty="0" smtClean="0">
                <a:latin typeface="Arial" pitchFamily="34" charset="0"/>
                <a:cs typeface="Arial" pitchFamily="34" charset="0"/>
              </a:rPr>
              <a:t>Что делать? </a:t>
            </a:r>
          </a:p>
          <a:p>
            <a:pPr marL="0" indent="0" algn="ctr">
              <a:lnSpc>
                <a:spcPct val="90000"/>
              </a:lnSpc>
              <a:buNone/>
            </a:pPr>
            <a:endParaRPr lang="ru-RU" sz="44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ru-RU" sz="51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Эффективное введение ФГОС:</a:t>
            </a:r>
          </a:p>
          <a:p>
            <a:pPr marL="0" indent="0">
              <a:lnSpc>
                <a:spcPct val="90000"/>
              </a:lnSpc>
              <a:buNone/>
            </a:pPr>
            <a:endParaRPr lang="ru-RU" sz="51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442913" indent="-442913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sz="51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51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ализация педагогических практик развивающего обучения </a:t>
            </a:r>
          </a:p>
          <a:p>
            <a:pPr marL="442913" indent="-442913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sz="51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внедрение новой системы учебных заданий и учебных ситуаций, ориентированных на формирование функциональной грамотности</a:t>
            </a:r>
          </a:p>
          <a:p>
            <a:pPr marL="442913" indent="-442913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sz="51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повышение квалификации учителей</a:t>
            </a:r>
          </a:p>
          <a:p>
            <a:pPr marL="0" indent="0" algn="ctr">
              <a:lnSpc>
                <a:spcPct val="90000"/>
              </a:lnSpc>
              <a:buNone/>
            </a:pPr>
            <a:endParaRPr lang="ru-RU" altLang="ru-RU" sz="5100" b="1" i="1" dirty="0" smtClean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0" indent="0" algn="just">
              <a:lnSpc>
                <a:spcPct val="90000"/>
              </a:lnSpc>
              <a:buNone/>
            </a:pPr>
            <a:r>
              <a:rPr lang="ru-RU" altLang="ru-RU" sz="5100" b="1" i="1" dirty="0" smtClean="0">
                <a:solidFill>
                  <a:srgbClr val="FF0000"/>
                </a:solidFill>
                <a:latin typeface="Arial" panose="020B0604020202020204" pitchFamily="34" charset="0"/>
              </a:rPr>
              <a:t>Учебно-методические средства обучения:</a:t>
            </a:r>
          </a:p>
          <a:p>
            <a:pPr marL="0" indent="0" algn="just">
              <a:lnSpc>
                <a:spcPct val="90000"/>
              </a:lnSpc>
              <a:buNone/>
            </a:pPr>
            <a:endParaRPr lang="ru-RU" altLang="ru-RU" sz="5100" b="1" i="1" dirty="0" smtClean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0" indent="0" algn="just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51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технологии  развивающего обучения</a:t>
            </a:r>
          </a:p>
          <a:p>
            <a:pPr marL="0" indent="0" algn="just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51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эффективные педагогические практики</a:t>
            </a:r>
          </a:p>
          <a:p>
            <a:pPr marL="0" indent="0" algn="just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51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учебные задания и учебные ситуации</a:t>
            </a:r>
          </a:p>
        </p:txBody>
      </p:sp>
    </p:spTree>
    <p:extLst>
      <p:ext uri="{BB962C8B-B14F-4D97-AF65-F5344CB8AC3E}">
        <p14:creationId xmlns:p14="http://schemas.microsoft.com/office/powerpoint/2010/main" val="15634587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График подготовки и проведения исследовательского блока в системе повышения квалификации (1)</a:t>
            </a:r>
            <a:endParaRPr lang="ru-RU" sz="32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367616"/>
            <a:ext cx="10692765" cy="5796771"/>
          </a:xfrm>
        </p:spPr>
        <p:txBody>
          <a:bodyPr>
            <a:normAutofit fontScale="77500" lnSpcReduction="20000"/>
          </a:bodyPr>
          <a:lstStyle/>
          <a:p>
            <a:pPr>
              <a:buNone/>
            </a:pPr>
            <a:r>
              <a:rPr lang="ru-RU" sz="4200" u="sng" dirty="0" smtClean="0"/>
              <a:t>Подготовительный этап</a:t>
            </a:r>
          </a:p>
          <a:p>
            <a:pPr>
              <a:buNone/>
            </a:pPr>
            <a:r>
              <a:rPr lang="ru-RU" sz="4200" dirty="0" smtClean="0"/>
              <a:t>9 ноября</a:t>
            </a:r>
          </a:p>
          <a:p>
            <a:r>
              <a:rPr lang="ru-RU" sz="4200" dirty="0" err="1" smtClean="0"/>
              <a:t>Вебинар</a:t>
            </a:r>
            <a:r>
              <a:rPr lang="ru-RU" sz="4200" dirty="0" smtClean="0"/>
              <a:t> для учителей и администраторов ОО «Оценка уровня </a:t>
            </a:r>
            <a:r>
              <a:rPr lang="ru-RU" sz="4200" dirty="0" err="1" smtClean="0"/>
              <a:t>сформированности</a:t>
            </a:r>
            <a:r>
              <a:rPr lang="ru-RU" sz="4200" dirty="0" smtClean="0"/>
              <a:t> функциональной грамотности учащихся 6 класса. Особенности диагностической работы. Проведение диагностической работы. Процедура экспертной проверки заданий. (Организация исследовательского этапа. Обработка материалов)</a:t>
            </a:r>
          </a:p>
          <a:p>
            <a:pPr>
              <a:buNone/>
            </a:pPr>
            <a:r>
              <a:rPr lang="ru-RU" sz="4200" dirty="0" smtClean="0"/>
              <a:t>10-11 ноября</a:t>
            </a:r>
          </a:p>
          <a:p>
            <a:r>
              <a:rPr lang="ru-RU" sz="4200" dirty="0" smtClean="0"/>
              <a:t>Проведение подготовки учащихся к выполнению диагностической работы на компьютерах (тренировка)</a:t>
            </a:r>
          </a:p>
          <a:p>
            <a:endParaRPr lang="ru-RU" sz="4200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График подготовки и проведения исследовательского блока в системе повышения квалификации (2)</a:t>
            </a:r>
            <a:endParaRPr lang="ru-RU" sz="32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818" y="1205930"/>
            <a:ext cx="10945216" cy="5796771"/>
          </a:xfrm>
        </p:spPr>
        <p:txBody>
          <a:bodyPr>
            <a:normAutofit fontScale="70000" lnSpcReduction="20000"/>
          </a:bodyPr>
          <a:lstStyle/>
          <a:p>
            <a:pPr>
              <a:buNone/>
            </a:pPr>
            <a:r>
              <a:rPr lang="ru-RU" sz="4200" u="sng" dirty="0" smtClean="0"/>
              <a:t>Проведение диагностической работы</a:t>
            </a:r>
          </a:p>
          <a:p>
            <a:pPr>
              <a:buNone/>
            </a:pPr>
            <a:endParaRPr lang="ru-RU" sz="4200" u="sng" dirty="0" smtClean="0"/>
          </a:p>
          <a:p>
            <a:pPr>
              <a:buNone/>
            </a:pPr>
            <a:r>
              <a:rPr lang="ru-RU" sz="4200" dirty="0" smtClean="0"/>
              <a:t>12 - 13 ноября</a:t>
            </a:r>
          </a:p>
          <a:p>
            <a:r>
              <a:rPr lang="ru-RU" sz="4200" dirty="0" smtClean="0"/>
              <a:t>Проведение диагностической работы (6 класс)</a:t>
            </a:r>
          </a:p>
          <a:p>
            <a:pPr>
              <a:buNone/>
            </a:pPr>
            <a:r>
              <a:rPr lang="ru-RU" sz="4200" dirty="0" smtClean="0"/>
              <a:t>15-17 ноября </a:t>
            </a:r>
          </a:p>
          <a:p>
            <a:r>
              <a:rPr lang="ru-RU" sz="4200" dirty="0" smtClean="0"/>
              <a:t>Ознакомление с общими подходами к проверке заданий с открытыми ответами. Изучение видеороликов и рекомендаций по оцениванию</a:t>
            </a:r>
          </a:p>
          <a:p>
            <a:pPr>
              <a:buNone/>
            </a:pPr>
            <a:r>
              <a:rPr lang="ru-RU" sz="4200" dirty="0" smtClean="0"/>
              <a:t>18 – 22 ноября</a:t>
            </a:r>
          </a:p>
          <a:p>
            <a:r>
              <a:rPr lang="ru-RU" sz="4200" dirty="0" smtClean="0"/>
              <a:t>Экспертная проверка работ. </a:t>
            </a:r>
          </a:p>
          <a:p>
            <a:pPr>
              <a:buNone/>
            </a:pPr>
            <a:r>
              <a:rPr lang="ru-RU" sz="4200" dirty="0" smtClean="0"/>
              <a:t>23-29 ноября</a:t>
            </a:r>
          </a:p>
          <a:p>
            <a:r>
              <a:rPr lang="ru-RU" sz="4200" dirty="0" smtClean="0"/>
              <a:t>Обработка данных 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График подготовки и проведения исследовательского блока в системе повышения квалификации (3)</a:t>
            </a:r>
            <a:endParaRPr lang="ru-RU" sz="32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68261" y="1224740"/>
            <a:ext cx="11287203" cy="5175119"/>
          </a:xfrm>
        </p:spPr>
        <p:txBody>
          <a:bodyPr>
            <a:normAutofit fontScale="25000" lnSpcReduction="20000"/>
          </a:bodyPr>
          <a:lstStyle/>
          <a:p>
            <a:pPr>
              <a:buNone/>
            </a:pPr>
            <a:r>
              <a:rPr lang="ru-RU" sz="11200" u="sng" dirty="0" smtClean="0"/>
              <a:t>Анализ результатов учащихся в образовательных организациях</a:t>
            </a:r>
          </a:p>
          <a:p>
            <a:pPr>
              <a:buNone/>
            </a:pPr>
            <a:endParaRPr lang="ru-RU" sz="9600" dirty="0" smtClean="0"/>
          </a:p>
          <a:p>
            <a:pPr>
              <a:buNone/>
            </a:pPr>
            <a:r>
              <a:rPr lang="ru-RU" sz="11200" dirty="0" smtClean="0"/>
              <a:t>30 ноября — 1 декабря</a:t>
            </a:r>
          </a:p>
          <a:p>
            <a:r>
              <a:rPr lang="ru-RU" sz="11200" dirty="0" smtClean="0"/>
              <a:t>ОО получают результаты</a:t>
            </a:r>
          </a:p>
          <a:p>
            <a:pPr>
              <a:buNone/>
            </a:pPr>
            <a:r>
              <a:rPr lang="ru-RU" sz="11200" dirty="0" smtClean="0"/>
              <a:t> 1 декабря </a:t>
            </a:r>
          </a:p>
          <a:p>
            <a:r>
              <a:rPr lang="ru-RU" sz="11200" dirty="0" err="1" smtClean="0"/>
              <a:t>Вебинар</a:t>
            </a:r>
            <a:r>
              <a:rPr lang="ru-RU" sz="11200" dirty="0" smtClean="0"/>
              <a:t> «Анализ уровня </a:t>
            </a:r>
            <a:r>
              <a:rPr lang="ru-RU" sz="11200" dirty="0" err="1" smtClean="0"/>
              <a:t>сформированности</a:t>
            </a:r>
            <a:r>
              <a:rPr lang="ru-RU" sz="11200" dirty="0" smtClean="0"/>
              <a:t> функциональной грамотности учащихся. Организация работы (представление материалов, которые получат школы, рекомендации по .анализу результатов по классам и учащимся и подготовке рекомендаций по использованию результатов диагностических работ для совершенствования функциональной грамотности)</a:t>
            </a:r>
          </a:p>
          <a:p>
            <a:pPr>
              <a:buNone/>
            </a:pPr>
            <a:r>
              <a:rPr lang="ru-RU" sz="11200" dirty="0" smtClean="0"/>
              <a:t>2 – 7 декабря </a:t>
            </a:r>
          </a:p>
          <a:p>
            <a:r>
              <a:rPr lang="ru-RU" sz="11200" dirty="0" smtClean="0"/>
              <a:t>Проведение </a:t>
            </a:r>
            <a:r>
              <a:rPr lang="ru-RU" sz="11200" dirty="0" err="1" smtClean="0"/>
              <a:t>вебинаров</a:t>
            </a:r>
            <a:r>
              <a:rPr lang="ru-RU" sz="11200" dirty="0" smtClean="0"/>
              <a:t> по 6 направлениям ФГ « Оценка и формирование функциональной грамотности. Анализ результатов и их использование в учебном процессе»</a:t>
            </a:r>
          </a:p>
          <a:p>
            <a:endParaRPr lang="ru-RU" sz="6700" dirty="0" smtClean="0"/>
          </a:p>
          <a:p>
            <a:endParaRPr lang="ru-RU" sz="6700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>График подготовки и проведения исследовательского блока в системе повышения квалификации (4)</a:t>
            </a:r>
            <a:endParaRPr lang="ru-RU" sz="32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367616"/>
            <a:ext cx="10692765" cy="5643601"/>
          </a:xfrm>
        </p:spPr>
        <p:txBody>
          <a:bodyPr>
            <a:normAutofit fontScale="32500" lnSpcReduction="20000"/>
          </a:bodyPr>
          <a:lstStyle/>
          <a:p>
            <a:endParaRPr lang="ru-RU" dirty="0" smtClean="0"/>
          </a:p>
          <a:p>
            <a:pPr>
              <a:buNone/>
            </a:pPr>
            <a:r>
              <a:rPr lang="ru-RU" sz="7400" u="sng" dirty="0" smtClean="0"/>
              <a:t>Подготовка рекомендаций по совершенствованию функциональной грамотности учащихся</a:t>
            </a:r>
          </a:p>
          <a:p>
            <a:pPr>
              <a:buNone/>
            </a:pPr>
            <a:endParaRPr lang="ru-RU" sz="7400" u="sng" dirty="0" smtClean="0"/>
          </a:p>
          <a:p>
            <a:pPr>
              <a:buNone/>
            </a:pPr>
            <a:r>
              <a:rPr lang="ru-RU" sz="7400" dirty="0" smtClean="0"/>
              <a:t>8 декабря</a:t>
            </a:r>
          </a:p>
          <a:p>
            <a:r>
              <a:rPr lang="ru-RU" sz="7400" dirty="0" smtClean="0"/>
              <a:t>Отправка материалов, подготовленных коллективно учителями ОО «Выводы по результатам проведения диагностической работы по функциональной грамотности. Предложение по совершенствованию функциональной грамотности учащихся» </a:t>
            </a:r>
          </a:p>
          <a:p>
            <a:pPr>
              <a:buNone/>
            </a:pPr>
            <a:r>
              <a:rPr lang="ru-RU" sz="7400" dirty="0" smtClean="0"/>
              <a:t>9 декабря – 14 декабря</a:t>
            </a:r>
          </a:p>
          <a:p>
            <a:r>
              <a:rPr lang="ru-RU" sz="7400" dirty="0" smtClean="0"/>
              <a:t>Анализ полученных материалов из ОО. Определение ОО, которые представят свой опыт  на заключительном </a:t>
            </a:r>
            <a:r>
              <a:rPr lang="ru-RU" sz="7400" dirty="0" err="1" smtClean="0"/>
              <a:t>вебинаре</a:t>
            </a:r>
            <a:r>
              <a:rPr lang="ru-RU" sz="7400" dirty="0" smtClean="0"/>
              <a:t>.</a:t>
            </a:r>
          </a:p>
          <a:p>
            <a:pPr>
              <a:buNone/>
            </a:pPr>
            <a:r>
              <a:rPr lang="ru-RU" sz="7400" dirty="0" smtClean="0"/>
              <a:t>15 декабря </a:t>
            </a:r>
          </a:p>
          <a:p>
            <a:r>
              <a:rPr lang="ru-RU" sz="7400" dirty="0" smtClean="0"/>
              <a:t>Проведение итогового </a:t>
            </a:r>
            <a:r>
              <a:rPr lang="ru-RU" sz="7400" dirty="0" err="1" smtClean="0"/>
              <a:t>вебинара</a:t>
            </a:r>
            <a:r>
              <a:rPr lang="ru-RU" sz="7400" dirty="0" smtClean="0"/>
              <a:t>. Представление опыта 2-3 коллективов ОО по совершенствованию функциональной грамотности учащихся. Вручение сертификатов 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1134317" y="763263"/>
            <a:ext cx="9104742" cy="1179139"/>
          </a:xfrm>
        </p:spPr>
        <p:txBody>
          <a:bodyPr>
            <a:normAutofit/>
          </a:bodyPr>
          <a:lstStyle/>
          <a:p>
            <a:pPr eaLnBrk="1" hangingPunct="1"/>
            <a:r>
              <a:rPr lang="ru-RU" dirty="0">
                <a:solidFill>
                  <a:srgbClr val="A50021"/>
                </a:solidFill>
              </a:rPr>
              <a:t>Спасибо за внимание!</a:t>
            </a:r>
          </a:p>
        </p:txBody>
      </p:sp>
      <p:sp>
        <p:nvSpPr>
          <p:cNvPr id="5939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010138" y="6640325"/>
            <a:ext cx="2228921" cy="381438"/>
          </a:xfrm>
          <a:prstGeom prst="rect">
            <a:avLst/>
          </a:prstGeom>
          <a:noFill/>
        </p:spPr>
        <p:txBody>
          <a:bodyPr vert="horz" lIns="80260" tIns="40130" rIns="80260" bIns="40130" rtlCol="0" anchor="ctr"/>
          <a:lstStyle/>
          <a:p>
            <a:fld id="{3794D34D-6F29-4C4A-96B0-9B0417D6C66B}" type="slidenum">
              <a:rPr lang="ru-RU" smtClean="0"/>
              <a:pPr/>
              <a:t>27</a:t>
            </a:fld>
            <a:endParaRPr lang="ru-RU" smtClean="0"/>
          </a:p>
        </p:txBody>
      </p:sp>
      <p:pic>
        <p:nvPicPr>
          <p:cNvPr id="5" name="Рисунок 7"/>
          <p:cNvPicPr preferRelativeResize="0"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92753" y="2452259"/>
            <a:ext cx="2389904" cy="3302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Скругленный прямоугольник 5"/>
          <p:cNvSpPr/>
          <p:nvPr/>
        </p:nvSpPr>
        <p:spPr>
          <a:xfrm>
            <a:off x="611833" y="2452259"/>
            <a:ext cx="7848872" cy="3168352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tIns="360000" rtlCol="0" anchor="ctr"/>
          <a:lstStyle/>
          <a:p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</a:rPr>
              <a:t>Презентация подготовлена сотрудниками Центра оценки </a:t>
            </a:r>
            <a:r>
              <a:rPr lang="ru-RU" sz="2800" dirty="0">
                <a:solidFill>
                  <a:schemeClr val="tx2">
                    <a:lumMod val="50000"/>
                  </a:schemeClr>
                </a:solidFill>
              </a:rPr>
              <a:t>качества </a:t>
            </a:r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</a:rPr>
              <a:t>образования </a:t>
            </a:r>
            <a:r>
              <a:rPr lang="ru-RU" sz="2800" dirty="0">
                <a:solidFill>
                  <a:schemeClr val="tx2">
                    <a:lumMod val="50000"/>
                  </a:schemeClr>
                </a:solidFill>
              </a:rPr>
              <a:t>Института стратегии развития образования  РАО</a:t>
            </a:r>
            <a:endParaRPr lang="ru-RU" sz="2800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</a:rPr>
              <a:t>электронная почта – </a:t>
            </a:r>
            <a:r>
              <a:rPr lang="en-US" sz="2800" u="sng" dirty="0" err="1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centeroko</a:t>
            </a:r>
            <a:r>
              <a:rPr lang="ru-RU" sz="2800" u="sng" dirty="0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@</a:t>
            </a:r>
            <a:r>
              <a:rPr lang="en-US" sz="2800" u="sng" dirty="0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mail</a:t>
            </a:r>
            <a:r>
              <a:rPr lang="ru-RU" sz="2800" u="sng" dirty="0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.</a:t>
            </a:r>
            <a:r>
              <a:rPr lang="en-US" sz="2800" u="sng" dirty="0" err="1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ru</a:t>
            </a:r>
            <a:endParaRPr lang="en-US" sz="2800" u="sng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</a:rPr>
              <a:t>Тел</a:t>
            </a:r>
            <a:r>
              <a:rPr lang="ru-RU" sz="2800" dirty="0">
                <a:solidFill>
                  <a:schemeClr val="tx2">
                    <a:lumMod val="50000"/>
                  </a:schemeClr>
                </a:solidFill>
              </a:rPr>
              <a:t>.: +</a:t>
            </a:r>
            <a:r>
              <a:rPr lang="ru-RU" sz="2800" dirty="0" smtClean="0">
                <a:solidFill>
                  <a:schemeClr val="tx2">
                    <a:lumMod val="50000"/>
                  </a:schemeClr>
                </a:solidFill>
              </a:rPr>
              <a:t>7-495-621-76-36 </a:t>
            </a:r>
            <a:endParaRPr lang="ru-RU" sz="28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961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Объект 2"/>
          <p:cNvSpPr txBox="1">
            <a:spLocks noGrp="1"/>
          </p:cNvSpPr>
          <p:nvPr>
            <p:ph type="body" sz="half" idx="1"/>
          </p:nvPr>
        </p:nvSpPr>
        <p:spPr>
          <a:xfrm>
            <a:off x="585896" y="2646090"/>
            <a:ext cx="11140885" cy="1908248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1222451">
              <a:spcBef>
                <a:spcPts val="0"/>
              </a:spcBef>
              <a:buSzTx/>
              <a:buNone/>
              <a:defRPr sz="4512" b="1"/>
            </a:lvl1pPr>
          </a:lstStyle>
          <a:p>
            <a:r>
              <a:rPr lang="ru-RU" dirty="0" smtClean="0">
                <a:solidFill>
                  <a:srgbClr val="002060"/>
                </a:solidFill>
              </a:rPr>
              <a:t>Инновационный проект Министерства просвещения РФ «Мониторинг формирования функциональной грамотности обучающихся»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Руководитель - Ковалева Галина Сергеевна, к.п.н., руководитель Центра оценки качества образования ФГБНУ «ИСРО РАО»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932816" cy="170998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82575" y="5153830"/>
            <a:ext cx="11161240" cy="1015657"/>
          </a:xfrm>
          <a:prstGeom prst="rect">
            <a:avLst/>
          </a:prstGeom>
        </p:spPr>
        <p:txBody>
          <a:bodyPr wrap="square" lIns="91433" tIns="45717" rIns="91433" bIns="45717">
            <a:spAutoFit/>
          </a:bodyPr>
          <a:lstStyle/>
          <a:p>
            <a:pPr marL="101965" indent="-101965">
              <a:defRPr/>
            </a:pPr>
            <a:endParaRPr lang="ru-RU" sz="2000" i="1" dirty="0"/>
          </a:p>
          <a:p>
            <a:pPr marL="101965" indent="-101965">
              <a:defRPr/>
            </a:pPr>
            <a:endParaRPr lang="ru-RU" sz="2000" i="1" dirty="0"/>
          </a:p>
          <a:p>
            <a:pPr marL="101965" indent="-101965">
              <a:defRPr/>
            </a:pPr>
            <a:endParaRPr lang="ru-RU" sz="2000" i="1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871EDFC-11F6-4D2F-9B24-696E5EF77E1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/>
        </p:blipFill>
        <p:spPr>
          <a:xfrm>
            <a:off x="6084441" y="197818"/>
            <a:ext cx="5440911" cy="196559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68261" y="4439450"/>
            <a:ext cx="10858576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/>
          </a:p>
          <a:p>
            <a:r>
              <a:rPr lang="ru-RU" sz="2400" b="1" dirty="0" smtClean="0"/>
              <a:t>Цель проекта</a:t>
            </a:r>
            <a:r>
              <a:rPr lang="ru-RU" sz="2400" dirty="0" smtClean="0"/>
              <a:t>: </a:t>
            </a:r>
            <a:r>
              <a:rPr lang="ru-RU" sz="2400" i="1" dirty="0" smtClean="0"/>
              <a:t>Создание Национального инструментария</a:t>
            </a:r>
            <a:r>
              <a:rPr lang="ru-RU" sz="2400" b="1" i="1" dirty="0" smtClean="0"/>
              <a:t>, </a:t>
            </a:r>
            <a:r>
              <a:rPr lang="ru-RU" sz="2400" i="1" dirty="0" smtClean="0"/>
              <a:t>обеспечивающего методическое сопровождение формирования функциональной грамотности обучающихся</a:t>
            </a:r>
          </a:p>
          <a:p>
            <a:endParaRPr lang="ru-RU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Разработка национального инструментария </a:t>
            </a:r>
            <a:br>
              <a:rPr lang="ru-RU" dirty="0" smtClean="0"/>
            </a:br>
            <a:r>
              <a:rPr lang="ru-RU" dirty="0" smtClean="0"/>
              <a:t>по методологии </a:t>
            </a:r>
            <a:r>
              <a:rPr lang="en-US" dirty="0" smtClean="0"/>
              <a:t>PISA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6882829"/>
              </p:ext>
            </p:extLst>
          </p:nvPr>
        </p:nvGraphicFramePr>
        <p:xfrm>
          <a:off x="323801" y="1927425"/>
          <a:ext cx="10693080" cy="52229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4262207867"/>
              </p:ext>
            </p:extLst>
          </p:nvPr>
        </p:nvGraphicFramePr>
        <p:xfrm>
          <a:off x="5868417" y="1999433"/>
          <a:ext cx="5760640" cy="48483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117898278"/>
              </p:ext>
            </p:extLst>
          </p:nvPr>
        </p:nvGraphicFramePr>
        <p:xfrm>
          <a:off x="3276129" y="1248075"/>
          <a:ext cx="8226655" cy="751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25254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0"/>
            <a:ext cx="11880850" cy="1196438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Функциональная грамотность  </a:t>
            </a:r>
            <a:r>
              <a:rPr lang="ru-RU" b="1" i="1" dirty="0" smtClean="0">
                <a:solidFill>
                  <a:schemeClr val="tx1"/>
                </a:solidFill>
              </a:rPr>
              <a:t>(основное определение)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ЯНДЕКС.УЧЕБНИК ДЛЯ НАЧАЛЬНОЙ ШКОЛЫ</a:t>
            </a:r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2B6D4D-164A-9E43-B00A-6F12B8C4E2FE}" type="slidenum">
              <a:rPr lang="x-none" smtClean="0"/>
              <a:pPr/>
              <a:t>5</a:t>
            </a:fld>
            <a:endParaRPr lang="x-none"/>
          </a:p>
        </p:txBody>
      </p:sp>
      <p:sp>
        <p:nvSpPr>
          <p:cNvPr id="5" name="Текст 4"/>
          <p:cNvSpPr>
            <a:spLocks noGrp="1"/>
          </p:cNvSpPr>
          <p:nvPr>
            <p:ph type="body" sz="half" idx="28"/>
          </p:nvPr>
        </p:nvSpPr>
        <p:spPr>
          <a:xfrm>
            <a:off x="471092" y="1627189"/>
            <a:ext cx="10489706" cy="5020600"/>
          </a:xfrm>
        </p:spPr>
        <p:txBody>
          <a:bodyPr/>
          <a:lstStyle/>
          <a:p>
            <a:r>
              <a:rPr lang="ru-RU" sz="2700" b="1" dirty="0" smtClean="0">
                <a:solidFill>
                  <a:schemeClr val="tx1"/>
                </a:solidFill>
              </a:rPr>
              <a:t>Леонтьев А.А</a:t>
            </a:r>
            <a:r>
              <a:rPr lang="ru-RU" sz="2700" dirty="0" smtClean="0">
                <a:solidFill>
                  <a:schemeClr val="tx1"/>
                </a:solidFill>
              </a:rPr>
              <a:t>.: «Функционально грамотный человек — это человек, который способен использовать все постоянно приобретаемые в течение жизни знания, умения и навыки для решения максимально широкого диапазона жизненных задач в различных сферах человеческой деятельности, общения и социальных отношений»</a:t>
            </a:r>
          </a:p>
          <a:p>
            <a:r>
              <a:rPr lang="ru-RU" sz="2700" dirty="0" smtClean="0">
                <a:solidFill>
                  <a:schemeClr val="tx1"/>
                </a:solidFill>
              </a:rPr>
              <a:t> </a:t>
            </a:r>
            <a:r>
              <a:rPr lang="ru-RU" sz="2200" u="sng" dirty="0" smtClean="0">
                <a:solidFill>
                  <a:schemeClr val="tx1"/>
                </a:solidFill>
                <a:hlinkClick r:id="rId2"/>
              </a:rPr>
              <a:t>[</a:t>
            </a:r>
            <a:r>
              <a:rPr lang="ru-RU" sz="2200" i="1" dirty="0" smtClean="0">
                <a:solidFill>
                  <a:schemeClr val="tx1"/>
                </a:solidFill>
              </a:rPr>
              <a:t>Образовательная система «Школа 2100». Педагогика здравого смысла / под ред. А. А. Леонтьева. М.: </a:t>
            </a:r>
            <a:r>
              <a:rPr lang="ru-RU" sz="2200" i="1" dirty="0" err="1" smtClean="0">
                <a:solidFill>
                  <a:schemeClr val="tx1"/>
                </a:solidFill>
              </a:rPr>
              <a:t>Баласс</a:t>
            </a:r>
            <a:r>
              <a:rPr lang="ru-RU" sz="2200" i="1" dirty="0" smtClean="0">
                <a:solidFill>
                  <a:schemeClr val="tx1"/>
                </a:solidFill>
              </a:rPr>
              <a:t>, 2003. С. 35.</a:t>
            </a:r>
            <a:r>
              <a:rPr lang="ru-RU" sz="2200" i="1" u="sng" dirty="0" smtClean="0">
                <a:solidFill>
                  <a:schemeClr val="tx1"/>
                </a:solidFill>
                <a:hlinkClick r:id="rId2"/>
              </a:rPr>
              <a:t>]</a:t>
            </a:r>
            <a:r>
              <a:rPr lang="ru-RU" sz="2200" i="1" dirty="0" smtClean="0">
                <a:solidFill>
                  <a:schemeClr val="tx1"/>
                </a:solidFill>
              </a:rPr>
              <a:t>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Прямая соединительная линия 26"/>
          <p:cNvCxnSpPr/>
          <p:nvPr/>
        </p:nvCxnSpPr>
        <p:spPr>
          <a:xfrm flipH="1">
            <a:off x="2453585" y="5243621"/>
            <a:ext cx="594453" cy="478638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s://www.oecd.org/media/oecdorg/satellitesites/pisa/New%20web%20banner_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97" t="20936" r="76223" b="14799"/>
          <a:stretch/>
        </p:blipFill>
        <p:spPr bwMode="auto">
          <a:xfrm>
            <a:off x="5084941" y="3695818"/>
            <a:ext cx="1603655" cy="946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Овал 19"/>
          <p:cNvSpPr/>
          <p:nvPr/>
        </p:nvSpPr>
        <p:spPr>
          <a:xfrm>
            <a:off x="2182272" y="2099962"/>
            <a:ext cx="7189294" cy="3857095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68393" y="0"/>
            <a:ext cx="9855043" cy="1196438"/>
          </a:xfrm>
        </p:spPr>
        <p:txBody>
          <a:bodyPr/>
          <a:lstStyle/>
          <a:p>
            <a:r>
              <a:rPr lang="ru-RU" sz="36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оставляющие функциональной грамотности</a:t>
            </a:r>
            <a:endParaRPr lang="ru-RU" sz="36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 rot="16200000">
            <a:off x="9632227" y="4588305"/>
            <a:ext cx="3691678" cy="141213"/>
          </a:xfrm>
        </p:spPr>
        <p:txBody>
          <a:bodyPr/>
          <a:lstStyle/>
          <a:p>
            <a:r>
              <a:rPr lang="ru-RU" dirty="0" smtClean="0"/>
              <a:t>ЯНДЕКС.УЧЕБНИК ДЛЯ НАЧАЛЬНОЙ ШКОЛЫ</a:t>
            </a:r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97406" y="6698786"/>
            <a:ext cx="208857" cy="381437"/>
          </a:xfrm>
        </p:spPr>
        <p:txBody>
          <a:bodyPr/>
          <a:lstStyle/>
          <a:p>
            <a:fld id="{922B6D4D-164A-9E43-B00A-6F12B8C4E2FE}" type="slidenum">
              <a:rPr lang="x-none" smtClean="0"/>
              <a:pPr/>
              <a:t>6</a:t>
            </a:fld>
            <a:endParaRPr lang="x-none"/>
          </a:p>
        </p:txBody>
      </p:sp>
      <p:sp>
        <p:nvSpPr>
          <p:cNvPr id="6" name="Текст 5"/>
          <p:cNvSpPr>
            <a:spLocks noGrp="1"/>
          </p:cNvSpPr>
          <p:nvPr>
            <p:ph type="body" sz="half" idx="28"/>
          </p:nvPr>
        </p:nvSpPr>
        <p:spPr>
          <a:xfrm>
            <a:off x="274785" y="1303740"/>
            <a:ext cx="10943312" cy="672491"/>
          </a:xfrm>
        </p:spPr>
        <p:txBody>
          <a:bodyPr/>
          <a:lstStyle/>
          <a:p>
            <a:pPr marL="0" indent="0">
              <a:buNone/>
            </a:pPr>
            <a:r>
              <a:rPr lang="ru-RU" sz="1600" dirty="0" smtClean="0"/>
              <a:t>Функциональная грамотность – </a:t>
            </a:r>
            <a:r>
              <a:rPr lang="ru-RU" sz="1600" dirty="0" smtClean="0">
                <a:solidFill>
                  <a:srgbClr val="FF0000"/>
                </a:solidFill>
              </a:rPr>
              <a:t>способность применять </a:t>
            </a:r>
            <a:r>
              <a:rPr lang="ru-RU" sz="1600" dirty="0" smtClean="0">
                <a:solidFill>
                  <a:schemeClr val="tx1"/>
                </a:solidFill>
              </a:rPr>
              <a:t>приобретаемые в течение жизни </a:t>
            </a:r>
            <a:r>
              <a:rPr lang="ru-RU" sz="1600" dirty="0" smtClean="0">
                <a:solidFill>
                  <a:srgbClr val="FF0000"/>
                </a:solidFill>
              </a:rPr>
              <a:t>знания, умения и навыки для решения </a:t>
            </a:r>
            <a:r>
              <a:rPr lang="ru-RU" sz="1600" dirty="0" smtClean="0">
                <a:solidFill>
                  <a:schemeClr val="tx1"/>
                </a:solidFill>
              </a:rPr>
              <a:t>максимально широкого диапазона </a:t>
            </a:r>
            <a:r>
              <a:rPr lang="ru-RU" sz="1600" dirty="0" smtClean="0">
                <a:solidFill>
                  <a:srgbClr val="FF0000"/>
                </a:solidFill>
              </a:rPr>
              <a:t>жизненных задач </a:t>
            </a:r>
            <a:r>
              <a:rPr lang="ru-RU" sz="1600" dirty="0" smtClean="0">
                <a:solidFill>
                  <a:schemeClr val="tx1"/>
                </a:solidFill>
              </a:rPr>
              <a:t>в различных сферах человеческой деятельности</a:t>
            </a:r>
            <a:endParaRPr lang="ru-RU" sz="1600" dirty="0"/>
          </a:p>
        </p:txBody>
      </p:sp>
      <p:sp>
        <p:nvSpPr>
          <p:cNvPr id="9" name="Овал 8"/>
          <p:cNvSpPr/>
          <p:nvPr/>
        </p:nvSpPr>
        <p:spPr>
          <a:xfrm>
            <a:off x="4627045" y="2214827"/>
            <a:ext cx="2288757" cy="1061873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Читательская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6784922" y="2765550"/>
            <a:ext cx="2333100" cy="1459606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Естественно-научная 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6746767" y="4291552"/>
            <a:ext cx="2168123" cy="1054253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Глобальные компетенции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4740860" y="4880820"/>
            <a:ext cx="2048898" cy="958264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Креативное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мышление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2587928" y="2906977"/>
            <a:ext cx="2323520" cy="1229976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err="1" smtClean="0">
                <a:solidFill>
                  <a:schemeClr val="tx1"/>
                </a:solidFill>
              </a:rPr>
              <a:t>Математи-ческая</a:t>
            </a:r>
            <a:r>
              <a:rPr lang="ru-RU" sz="2000" dirty="0" smtClean="0">
                <a:solidFill>
                  <a:schemeClr val="tx1"/>
                </a:solidFill>
              </a:rPr>
              <a:t> 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2819351" y="4274576"/>
            <a:ext cx="2131247" cy="1043740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Финансовая 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47260" y="6406515"/>
            <a:ext cx="3180450" cy="323147"/>
          </a:xfrm>
          <a:prstGeom prst="rect">
            <a:avLst/>
          </a:prstGeom>
          <a:noFill/>
        </p:spPr>
        <p:txBody>
          <a:bodyPr wrap="none" lIns="45702" tIns="22851" rIns="45702" bIns="22851" rtlCol="0">
            <a:spAutoFit/>
          </a:bodyPr>
          <a:lstStyle/>
          <a:p>
            <a:r>
              <a:rPr lang="ru-RU" sz="1800" b="1" dirty="0" smtClean="0"/>
              <a:t>Совместное решение проблем</a:t>
            </a:r>
            <a:endParaRPr lang="ru-RU" sz="1800" b="1" dirty="0"/>
          </a:p>
        </p:txBody>
      </p:sp>
      <p:sp>
        <p:nvSpPr>
          <p:cNvPr id="11" name="Стрелка вниз 10"/>
          <p:cNvSpPr/>
          <p:nvPr/>
        </p:nvSpPr>
        <p:spPr>
          <a:xfrm>
            <a:off x="5574815" y="5898966"/>
            <a:ext cx="361460" cy="5463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22" name="32-конечная звезда 21"/>
          <p:cNvSpPr/>
          <p:nvPr/>
        </p:nvSpPr>
        <p:spPr>
          <a:xfrm>
            <a:off x="1" y="3798059"/>
            <a:ext cx="2281286" cy="1445562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ru-RU" sz="1700" dirty="0" smtClean="0"/>
          </a:p>
          <a:p>
            <a:pPr algn="ctr"/>
            <a:r>
              <a:rPr lang="ru-RU" sz="1700" dirty="0" smtClean="0"/>
              <a:t>Налоговая грамотность</a:t>
            </a:r>
            <a:endParaRPr lang="ru-RU" sz="1700" b="1" dirty="0" smtClean="0"/>
          </a:p>
          <a:p>
            <a:pPr algn="ctr"/>
            <a:r>
              <a:rPr lang="ru-RU" sz="2200" b="1" dirty="0" smtClean="0"/>
              <a:t>?</a:t>
            </a:r>
            <a:endParaRPr lang="ru-RU" sz="2200" b="1" dirty="0"/>
          </a:p>
        </p:txBody>
      </p:sp>
      <p:sp>
        <p:nvSpPr>
          <p:cNvPr id="29" name="32-конечная звезда 28"/>
          <p:cNvSpPr/>
          <p:nvPr/>
        </p:nvSpPr>
        <p:spPr>
          <a:xfrm>
            <a:off x="569333" y="5358254"/>
            <a:ext cx="2420533" cy="1647061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2200" b="1" dirty="0" smtClean="0"/>
              <a:t>?</a:t>
            </a:r>
            <a:endParaRPr lang="ru-RU" sz="2200" b="1" dirty="0"/>
          </a:p>
        </p:txBody>
      </p:sp>
      <p:sp>
        <p:nvSpPr>
          <p:cNvPr id="30" name="32-конечная звезда 29"/>
          <p:cNvSpPr/>
          <p:nvPr/>
        </p:nvSpPr>
        <p:spPr>
          <a:xfrm>
            <a:off x="71068" y="1927258"/>
            <a:ext cx="2420533" cy="1708006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smtClean="0"/>
              <a:t>Гражданская грамотность</a:t>
            </a:r>
            <a:endParaRPr lang="en-US" sz="1700" dirty="0" smtClean="0"/>
          </a:p>
        </p:txBody>
      </p:sp>
      <p:sp>
        <p:nvSpPr>
          <p:cNvPr id="31" name="32-конечная звезда 30"/>
          <p:cNvSpPr/>
          <p:nvPr/>
        </p:nvSpPr>
        <p:spPr>
          <a:xfrm>
            <a:off x="9161962" y="1835598"/>
            <a:ext cx="2420533" cy="1708006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err="1" smtClean="0"/>
              <a:t>Информа-ционная</a:t>
            </a:r>
            <a:r>
              <a:rPr lang="ru-RU" sz="1700" dirty="0" smtClean="0"/>
              <a:t> грамотность</a:t>
            </a:r>
            <a:endParaRPr lang="en-US" sz="1700" dirty="0" smtClean="0"/>
          </a:p>
        </p:txBody>
      </p:sp>
      <p:sp>
        <p:nvSpPr>
          <p:cNvPr id="32" name="32-конечная звезда 31"/>
          <p:cNvSpPr/>
          <p:nvPr/>
        </p:nvSpPr>
        <p:spPr>
          <a:xfrm>
            <a:off x="8558861" y="5338832"/>
            <a:ext cx="2368807" cy="1552328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2200" b="1" dirty="0" smtClean="0"/>
              <a:t>?</a:t>
            </a:r>
            <a:endParaRPr lang="ru-RU" sz="2200" b="1" dirty="0"/>
          </a:p>
        </p:txBody>
      </p:sp>
      <p:sp>
        <p:nvSpPr>
          <p:cNvPr id="33" name="32-конечная звезда 32"/>
          <p:cNvSpPr/>
          <p:nvPr/>
        </p:nvSpPr>
        <p:spPr>
          <a:xfrm>
            <a:off x="9480625" y="3564700"/>
            <a:ext cx="2362471" cy="1474263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1700" dirty="0" err="1" smtClean="0"/>
              <a:t>Компьютер-ная</a:t>
            </a:r>
            <a:endParaRPr lang="ru-RU" sz="1700" dirty="0" smtClean="0"/>
          </a:p>
          <a:p>
            <a:pPr algn="ctr"/>
            <a:r>
              <a:rPr lang="ru-RU" sz="1700" dirty="0" smtClean="0"/>
              <a:t>грамотность</a:t>
            </a:r>
          </a:p>
          <a:p>
            <a:pPr algn="ctr"/>
            <a:r>
              <a:rPr lang="ru-RU" sz="1800" b="1" dirty="0" smtClean="0"/>
              <a:t>?</a:t>
            </a:r>
            <a:r>
              <a:rPr lang="ru-RU" sz="1700" dirty="0" smtClean="0"/>
              <a:t> </a:t>
            </a:r>
            <a:endParaRPr lang="ru-RU" sz="2200" b="1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H="1">
            <a:off x="1844584" y="4274577"/>
            <a:ext cx="436703" cy="79009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H="1" flipV="1">
            <a:off x="2224246" y="2723087"/>
            <a:ext cx="902624" cy="72113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H="1">
            <a:off x="8707446" y="2745763"/>
            <a:ext cx="651744" cy="163826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 flipH="1" flipV="1">
            <a:off x="8587501" y="5173057"/>
            <a:ext cx="519512" cy="505914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 flipH="1">
            <a:off x="9339378" y="4243516"/>
            <a:ext cx="453884" cy="0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2556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1880850" cy="533431"/>
          </a:xfrm>
          <a:prstGeom prst="rect">
            <a:avLst/>
          </a:prstGeom>
        </p:spPr>
        <p:txBody>
          <a:bodyPr wrap="square" lIns="101552" tIns="50776" rIns="101552" bIns="50776">
            <a:spAutoFit/>
          </a:bodyPr>
          <a:lstStyle/>
          <a:p>
            <a:pPr algn="ctr"/>
            <a:r>
              <a:rPr lang="ru-RU" sz="2800" b="1" dirty="0" smtClean="0">
                <a:latin typeface="Georgia" pitchFamily="18" charset="0"/>
              </a:rPr>
              <a:t>Структура измерительных материалов в исследовании </a:t>
            </a:r>
            <a:r>
              <a:rPr lang="en-US" sz="2800" b="1" dirty="0" smtClean="0">
                <a:latin typeface="Georgia" pitchFamily="18" charset="0"/>
              </a:rPr>
              <a:t> PISA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70214" y="2505080"/>
            <a:ext cx="5940425" cy="410320"/>
          </a:xfrm>
          <a:prstGeom prst="rect">
            <a:avLst/>
          </a:prstGeom>
        </p:spPr>
        <p:txBody>
          <a:bodyPr lIns="101552" tIns="50776" rIns="101552" bIns="50776">
            <a:spAutoFit/>
          </a:bodyPr>
          <a:lstStyle/>
          <a:p>
            <a:pPr defTabSz="1015513">
              <a:defRPr/>
            </a:pPr>
            <a:endParaRPr lang="ru-RU" sz="2000" kern="0" dirty="0" smtClea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166046852"/>
              </p:ext>
            </p:extLst>
          </p:nvPr>
        </p:nvGraphicFramePr>
        <p:xfrm>
          <a:off x="368385" y="1694080"/>
          <a:ext cx="8608924" cy="4596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8529857" y="1823315"/>
            <a:ext cx="2496606" cy="473063"/>
            <a:chOff x="1466849" y="2613603"/>
            <a:chExt cx="1296989" cy="1320222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8" name="Freeform 20"/>
            <p:cNvSpPr>
              <a:spLocks/>
            </p:cNvSpPr>
            <p:nvPr/>
          </p:nvSpPr>
          <p:spPr bwMode="auto">
            <a:xfrm>
              <a:off x="1466849" y="2613603"/>
              <a:ext cx="1296988" cy="1293814"/>
            </a:xfrm>
            <a:prstGeom prst="round2DiagRect">
              <a:avLst/>
            </a:prstGeom>
            <a:solidFill>
              <a:srgbClr val="CCE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азделы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атематики</a:t>
              </a:r>
            </a:p>
          </p:txBody>
        </p:sp>
      </p:grpSp>
      <p:grpSp>
        <p:nvGrpSpPr>
          <p:cNvPr id="6" name="Group 12"/>
          <p:cNvGrpSpPr>
            <a:grpSpLocks/>
          </p:cNvGrpSpPr>
          <p:nvPr/>
        </p:nvGrpSpPr>
        <p:grpSpPr bwMode="auto">
          <a:xfrm>
            <a:off x="8087395" y="958023"/>
            <a:ext cx="1940035" cy="713908"/>
            <a:chOff x="1264485" y="1191598"/>
            <a:chExt cx="1531503" cy="2078130"/>
          </a:xfrm>
          <a:solidFill>
            <a:srgbClr val="FFC000"/>
          </a:solidFill>
        </p:grpSpPr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1264485" y="1191598"/>
              <a:ext cx="1531503" cy="2078130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1381742" y="1426005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ипы и форматы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текста</a:t>
              </a:r>
            </a:p>
          </p:txBody>
        </p:sp>
      </p:grpSp>
      <p:grpSp>
        <p:nvGrpSpPr>
          <p:cNvPr id="9" name="Group 12"/>
          <p:cNvGrpSpPr>
            <a:grpSpLocks/>
          </p:cNvGrpSpPr>
          <p:nvPr/>
        </p:nvGrpSpPr>
        <p:grpSpPr bwMode="auto">
          <a:xfrm>
            <a:off x="7953885" y="2648523"/>
            <a:ext cx="2496603" cy="654691"/>
            <a:chOff x="1466850" y="2637632"/>
            <a:chExt cx="1296988" cy="1296193"/>
          </a:xfrm>
          <a:solidFill>
            <a:srgbClr val="A7FFC4"/>
          </a:solidFill>
        </p:grpSpPr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4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solidFill>
              <a:srgbClr val="66F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ЕНГ: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Естественнонаучные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предмет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етодология</a:t>
              </a:r>
            </a:p>
          </p:txBody>
        </p:sp>
      </p:grpSp>
      <p:grpSp>
        <p:nvGrpSpPr>
          <p:cNvPr id="12" name="Group 12"/>
          <p:cNvGrpSpPr>
            <a:grpSpLocks/>
          </p:cNvGrpSpPr>
          <p:nvPr/>
        </p:nvGrpSpPr>
        <p:grpSpPr bwMode="auto">
          <a:xfrm>
            <a:off x="8807523" y="3543049"/>
            <a:ext cx="2039624" cy="569503"/>
            <a:chOff x="1466850" y="2637632"/>
            <a:chExt cx="1296988" cy="1296193"/>
          </a:xfrm>
          <a:solidFill>
            <a:srgbClr val="FFC000"/>
          </a:solidFill>
        </p:grpSpPr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итуации функционирования текста</a:t>
              </a:r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8132036" y="4287229"/>
            <a:ext cx="2965008" cy="577569"/>
            <a:chOff x="1466850" y="2637632"/>
            <a:chExt cx="1296988" cy="1296193"/>
          </a:xfrm>
          <a:solidFill>
            <a:srgbClr val="CCECFF"/>
          </a:solidFill>
        </p:grpSpPr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ир</a:t>
              </a:r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индивидуума, социум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бразования и науки</a:t>
              </a:r>
            </a:p>
          </p:txBody>
        </p:sp>
      </p:grpSp>
      <p:grpSp>
        <p:nvGrpSpPr>
          <p:cNvPr id="18" name="Group 12"/>
          <p:cNvGrpSpPr>
            <a:grpSpLocks/>
          </p:cNvGrpSpPr>
          <p:nvPr/>
        </p:nvGrpSpPr>
        <p:grpSpPr bwMode="auto">
          <a:xfrm>
            <a:off x="7636681" y="5123075"/>
            <a:ext cx="2932328" cy="755212"/>
            <a:chOff x="1466850" y="2637632"/>
            <a:chExt cx="1296988" cy="1296193"/>
          </a:xfrm>
          <a:solidFill>
            <a:srgbClr val="66FF33"/>
          </a:solidFill>
        </p:grpSpPr>
        <p:sp>
          <p:nvSpPr>
            <p:cNvPr id="22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ЕН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доровье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, ресурс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кружающая сред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связь науки и технологии</a:t>
              </a:r>
            </a:p>
          </p:txBody>
        </p:sp>
      </p:grpSp>
      <p:sp>
        <p:nvSpPr>
          <p:cNvPr id="24" name="Freeform 20"/>
          <p:cNvSpPr>
            <a:spLocks/>
          </p:cNvSpPr>
          <p:nvPr/>
        </p:nvSpPr>
        <p:spPr bwMode="auto">
          <a:xfrm>
            <a:off x="675114" y="1185276"/>
            <a:ext cx="2957484" cy="1144268"/>
          </a:xfrm>
          <a:prstGeom prst="round2DiagRect">
            <a:avLst/>
          </a:prstGeom>
          <a:solidFill>
            <a:srgbClr val="FFC000"/>
          </a:solidFill>
          <a:ln>
            <a:noFill/>
          </a:ln>
          <a:extLst/>
        </p:spPr>
        <p:txBody>
          <a:bodyPr lIns="101552" tIns="50776" rIns="101552" bIns="50776" anchor="ctr" anchorCtr="0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Г: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тать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с информацией: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ходить и извлекать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смысливать и оценивать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419497" y="2685505"/>
            <a:ext cx="2973827" cy="1248084"/>
          </a:xfrm>
          <a:prstGeom prst="round2Diag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lIns="101552" tIns="50776" rIns="101552" bIns="50776" anchor="ctr" anchorCtr="0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Г: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Формулировать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26" name="Freeform 20"/>
          <p:cNvSpPr>
            <a:spLocks/>
          </p:cNvSpPr>
          <p:nvPr/>
        </p:nvSpPr>
        <p:spPr bwMode="auto">
          <a:xfrm>
            <a:off x="346720" y="5203486"/>
            <a:ext cx="3060971" cy="1244562"/>
          </a:xfrm>
          <a:prstGeom prst="round2DiagRect">
            <a:avLst/>
          </a:prstGeom>
          <a:solidFill>
            <a:srgbClr val="66FF33"/>
          </a:solidFill>
          <a:ln>
            <a:noFill/>
          </a:ln>
          <a:extLst/>
        </p:spPr>
        <p:txBody>
          <a:bodyPr lIns="101552" tIns="50776" rIns="101552" bIns="50776" anchor="ctr" anchorCtr="0"/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НГ: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авать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учные объяснения,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именять е/н методы исследования, 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 flipV="1">
            <a:off x="6522576" y="1414501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6522579" y="2175033"/>
            <a:ext cx="2053598" cy="288581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endCxn id="14" idx="2"/>
          </p:cNvCxnSpPr>
          <p:nvPr/>
        </p:nvCxnSpPr>
        <p:spPr>
          <a:xfrm>
            <a:off x="6549651" y="2463614"/>
            <a:ext cx="1404232" cy="51165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16" idx="2"/>
          </p:cNvCxnSpPr>
          <p:nvPr/>
        </p:nvCxnSpPr>
        <p:spPr>
          <a:xfrm flipV="1">
            <a:off x="7237960" y="3828149"/>
            <a:ext cx="1569563" cy="53449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7228619" y="4370078"/>
            <a:ext cx="1266516" cy="31562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228619" y="4381127"/>
            <a:ext cx="725264" cy="92069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3037754" y="1966262"/>
            <a:ext cx="250324" cy="2056537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2522950" y="3602094"/>
            <a:ext cx="556348" cy="50744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675114" y="4046658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64390" y="3840748"/>
            <a:ext cx="1911740" cy="625764"/>
          </a:xfrm>
          <a:prstGeom prst="rect">
            <a:avLst/>
          </a:prstGeom>
          <a:noFill/>
        </p:spPr>
        <p:txBody>
          <a:bodyPr wrap="square" lIns="101552" tIns="50776" rIns="101552" bIns="50776" rtlCol="0">
            <a:spAutoFit/>
          </a:bodyPr>
          <a:lstStyle/>
          <a:p>
            <a:pPr algn="ctr"/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 ЗАДАНИЙ</a:t>
            </a:r>
          </a:p>
        </p:txBody>
      </p:sp>
      <p:cxnSp>
        <p:nvCxnSpPr>
          <p:cNvPr id="42" name="Прямая со стрелкой 41"/>
          <p:cNvCxnSpPr/>
          <p:nvPr/>
        </p:nvCxnSpPr>
        <p:spPr>
          <a:xfrm flipV="1">
            <a:off x="6511929" y="1439054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H="1">
            <a:off x="654014" y="4082260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25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146" name="Rectangle 1026"/>
          <p:cNvSpPr>
            <a:spLocks noGrp="1" noChangeArrowheads="1"/>
          </p:cNvSpPr>
          <p:nvPr>
            <p:ph type="title"/>
          </p:nvPr>
        </p:nvSpPr>
        <p:spPr>
          <a:xfrm>
            <a:off x="467818" y="286576"/>
            <a:ext cx="10643122" cy="2538959"/>
          </a:xfrm>
        </p:spPr>
        <p:txBody>
          <a:bodyPr lIns="91422" tIns="45711" rIns="91422" bIns="45711" rtlCol="0">
            <a:normAutofit fontScale="90000"/>
          </a:bodyPr>
          <a:lstStyle/>
          <a:p>
            <a:pPr marL="522872" indent="-26977"/>
            <a:r>
              <a:rPr lang="ru-RU" sz="3600" u="sng" dirty="0" smtClean="0">
                <a:solidFill>
                  <a:srgbClr val="660066"/>
                </a:solidFill>
              </a:rPr>
              <a:t/>
            </a:r>
            <a:br>
              <a:rPr lang="ru-RU" sz="3600" u="sng" dirty="0" smtClean="0">
                <a:solidFill>
                  <a:srgbClr val="660066"/>
                </a:solidFill>
              </a:rPr>
            </a:br>
            <a:r>
              <a:rPr lang="ru-RU" sz="3600" u="sng" dirty="0" smtClean="0">
                <a:solidFill>
                  <a:srgbClr val="660066"/>
                </a:solidFill>
              </a:rPr>
              <a:t/>
            </a:r>
            <a:br>
              <a:rPr lang="ru-RU" sz="3600" u="sng" dirty="0" smtClean="0">
                <a:solidFill>
                  <a:srgbClr val="660066"/>
                </a:solidFill>
              </a:rPr>
            </a:br>
            <a:r>
              <a:rPr lang="ru-RU" sz="3600" u="sng" dirty="0" smtClean="0">
                <a:solidFill>
                  <a:srgbClr val="660066"/>
                </a:solidFill>
              </a:rPr>
              <a:t>Функциональная грамотность </a:t>
            </a:r>
            <a:r>
              <a:rPr lang="ru-RU" sz="3600" dirty="0" smtClean="0">
                <a:solidFill>
                  <a:srgbClr val="660066"/>
                </a:solidFill>
              </a:rPr>
              <a:t>– способность использовать знания</a:t>
            </a:r>
            <a:r>
              <a:rPr lang="en-US" sz="3600" dirty="0" smtClean="0">
                <a:solidFill>
                  <a:srgbClr val="660066"/>
                </a:solidFill>
              </a:rPr>
              <a:t>,</a:t>
            </a:r>
            <a:r>
              <a:rPr lang="ru-RU" sz="3600" dirty="0" smtClean="0">
                <a:solidFill>
                  <a:srgbClr val="660066"/>
                </a:solidFill>
              </a:rPr>
              <a:t> умения</a:t>
            </a:r>
            <a:r>
              <a:rPr lang="en-US" sz="3600" dirty="0" smtClean="0">
                <a:solidFill>
                  <a:srgbClr val="660066"/>
                </a:solidFill>
              </a:rPr>
              <a:t>,</a:t>
            </a:r>
            <a:r>
              <a:rPr lang="ru-RU" sz="3600" dirty="0" smtClean="0">
                <a:solidFill>
                  <a:srgbClr val="660066"/>
                </a:solidFill>
              </a:rPr>
              <a:t> способы в действии при решении широкого круга задач </a:t>
            </a:r>
            <a:r>
              <a:rPr lang="ru-RU" sz="3600" u="sng" dirty="0" smtClean="0">
                <a:solidFill>
                  <a:srgbClr val="660066"/>
                </a:solidFill>
              </a:rPr>
              <a:t>обнаруживает себя  за пределами учебных ситуаций</a:t>
            </a:r>
            <a:r>
              <a:rPr lang="ru-RU" sz="3600" dirty="0" smtClean="0">
                <a:solidFill>
                  <a:srgbClr val="660066"/>
                </a:solidFill>
              </a:rPr>
              <a:t>,  в задачах, не похожих на те, где эти знания, умения, способы приобретались.</a:t>
            </a:r>
            <a:r>
              <a:rPr lang="en-US" sz="3600" dirty="0" smtClean="0">
                <a:solidFill>
                  <a:schemeClr val="accent4">
                    <a:lumMod val="25000"/>
                  </a:schemeClr>
                </a:solidFill>
              </a:rPr>
              <a:t/>
            </a:r>
            <a:br>
              <a:rPr lang="en-US" sz="3600" dirty="0" smtClean="0">
                <a:solidFill>
                  <a:schemeClr val="accent4">
                    <a:lumMod val="25000"/>
                  </a:schemeClr>
                </a:solidFill>
              </a:rPr>
            </a:br>
            <a:endParaRPr lang="ru-RU" sz="3600" i="1" dirty="0" smtClean="0">
              <a:solidFill>
                <a:srgbClr val="660066"/>
              </a:solidFill>
            </a:endParaRPr>
          </a:p>
        </p:txBody>
      </p:sp>
      <p:sp>
        <p:nvSpPr>
          <p:cNvPr id="47108" name="Rectangle 1027"/>
          <p:cNvSpPr>
            <a:spLocks noGrp="1" noChangeArrowheads="1"/>
          </p:cNvSpPr>
          <p:nvPr>
            <p:ph type="body" idx="4294967295"/>
          </p:nvPr>
        </p:nvSpPr>
        <p:spPr>
          <a:xfrm>
            <a:off x="467818" y="3602664"/>
            <a:ext cx="11161240" cy="2845284"/>
          </a:xfrm>
          <a:prstGeom prst="rect">
            <a:avLst/>
          </a:prstGeom>
        </p:spPr>
        <p:txBody>
          <a:bodyPr lIns="91422" tIns="45711" rIns="91422" bIns="45711">
            <a:normAutofit fontScale="77500" lnSpcReduction="20000"/>
          </a:bodyPr>
          <a:lstStyle/>
          <a:p>
            <a:pPr indent="-46029">
              <a:buNone/>
            </a:pPr>
            <a:r>
              <a:rPr lang="ru-RU" dirty="0" smtClean="0"/>
              <a:t>Чтобы оценить уровень функциональной грамотности своих учеников, учителю нужно дать им нетипичные задания, в которых предлагается рассмотреть некоторые проблемы из реальной жизни. Решение этих задач, как правило, требует применения знаний в незнакомой ситуации, поиска новых решений или способов действий, т.е. требует творческой активности.</a:t>
            </a:r>
          </a:p>
          <a:p>
            <a:pPr indent="-46029">
              <a:buNone/>
            </a:pPr>
            <a:r>
              <a:rPr lang="ru-RU" dirty="0" smtClean="0"/>
              <a:t> </a:t>
            </a:r>
          </a:p>
          <a:p>
            <a:pPr marL="523227" indent="-423115">
              <a:buNone/>
            </a:pPr>
            <a:endParaRPr lang="ru-RU" dirty="0" smtClean="0">
              <a:solidFill>
                <a:schemeClr val="accent4">
                  <a:lumMod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843" y="269828"/>
            <a:ext cx="10692765" cy="648072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Математическая </a:t>
            </a:r>
            <a:r>
              <a:rPr lang="ru-RU" sz="3600" b="1" dirty="0" smtClean="0"/>
              <a:t>грамотность</a:t>
            </a:r>
            <a:endParaRPr lang="ru-RU" sz="3600" b="1" dirty="0"/>
          </a:p>
        </p:txBody>
      </p:sp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id="{E400270A-A281-4A06-A17F-EBE2BF3ABC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5021542"/>
              </p:ext>
            </p:extLst>
          </p:nvPr>
        </p:nvGraphicFramePr>
        <p:xfrm>
          <a:off x="593725" y="1671640"/>
          <a:ext cx="253838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2060"/>
                          </a:solidFill>
                        </a:rPr>
                        <a:t>Кассовый аппарат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0B4102E-BEB3-4741-AB7E-D4005C8D55D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47577" t="53234" r="4999" b="17660"/>
          <a:stretch/>
        </p:blipFill>
        <p:spPr>
          <a:xfrm>
            <a:off x="3225783" y="2224872"/>
            <a:ext cx="5634414" cy="1944216"/>
          </a:xfrm>
          <a:prstGeom prst="rect">
            <a:avLst/>
          </a:prstGeom>
        </p:spPr>
      </p:pic>
      <p:graphicFrame>
        <p:nvGraphicFramePr>
          <p:cNvPr id="10" name="Объект 8">
            <a:extLst>
              <a:ext uri="{FF2B5EF4-FFF2-40B4-BE49-F238E27FC236}">
                <a16:creationId xmlns:a16="http://schemas.microsoft.com/office/drawing/2014/main" id="{D5749EF5-7559-4690-9835-ECDA65E5CC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3254931"/>
              </p:ext>
            </p:extLst>
          </p:nvPr>
        </p:nvGraphicFramePr>
        <p:xfrm>
          <a:off x="593725" y="3667775"/>
          <a:ext cx="253838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2060"/>
                          </a:solidFill>
                        </a:rPr>
                        <a:t>Петерго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1" name="Объект 8">
            <a:extLst>
              <a:ext uri="{FF2B5EF4-FFF2-40B4-BE49-F238E27FC236}">
                <a16:creationId xmlns:a16="http://schemas.microsoft.com/office/drawing/2014/main" id="{0BBC0D61-5F4C-4689-A448-E9431A8890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7511248"/>
              </p:ext>
            </p:extLst>
          </p:nvPr>
        </p:nvGraphicFramePr>
        <p:xfrm>
          <a:off x="593725" y="5623026"/>
          <a:ext cx="282642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6420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2060"/>
                          </a:solidFill>
                        </a:rPr>
                        <a:t>Взвешивание фрукт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3" name="Объект 8">
            <a:extLst>
              <a:ext uri="{FF2B5EF4-FFF2-40B4-BE49-F238E27FC236}">
                <a16:creationId xmlns:a16="http://schemas.microsoft.com/office/drawing/2014/main" id="{72F19A8C-A1A9-4EA2-A359-75E0EE44D4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1819847"/>
              </p:ext>
            </p:extLst>
          </p:nvPr>
        </p:nvGraphicFramePr>
        <p:xfrm>
          <a:off x="8943374" y="5637728"/>
          <a:ext cx="253838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2060"/>
                          </a:solidFill>
                        </a:rPr>
                        <a:t>Ремонт комнат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4" name="Объект 8">
            <a:extLst>
              <a:ext uri="{FF2B5EF4-FFF2-40B4-BE49-F238E27FC236}">
                <a16:creationId xmlns:a16="http://schemas.microsoft.com/office/drawing/2014/main" id="{1160AECF-9E02-46A9-8B77-DC6300A721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5504694"/>
              </p:ext>
            </p:extLst>
          </p:nvPr>
        </p:nvGraphicFramePr>
        <p:xfrm>
          <a:off x="8910543" y="3594978"/>
          <a:ext cx="253838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2060"/>
                          </a:solidFill>
                        </a:rPr>
                        <a:t>Покупка телевизор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5" name="Объект 8">
            <a:extLst>
              <a:ext uri="{FF2B5EF4-FFF2-40B4-BE49-F238E27FC236}">
                <a16:creationId xmlns:a16="http://schemas.microsoft.com/office/drawing/2014/main" id="{E94D40D9-D884-4DFE-B5DE-44E1494559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6851025"/>
              </p:ext>
            </p:extLst>
          </p:nvPr>
        </p:nvGraphicFramePr>
        <p:xfrm>
          <a:off x="8388697" y="1724231"/>
          <a:ext cx="306023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0234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rgbClr val="002060"/>
                          </a:solidFill>
                        </a:rPr>
                        <a:t>Бугельные подъемник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8A9BB75B-6340-456D-AE50-25672D01DD3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41515" t="36686" r="14847" b="42194"/>
          <a:stretch/>
        </p:blipFill>
        <p:spPr>
          <a:xfrm>
            <a:off x="8788692" y="6176119"/>
            <a:ext cx="2693073" cy="732792"/>
          </a:xfrm>
          <a:prstGeom prst="rect">
            <a:avLst/>
          </a:prstGeom>
        </p:spPr>
      </p:pic>
      <p:graphicFrame>
        <p:nvGraphicFramePr>
          <p:cNvPr id="17" name="Объект 8">
            <a:extLst>
              <a:ext uri="{FF2B5EF4-FFF2-40B4-BE49-F238E27FC236}">
                <a16:creationId xmlns:a16="http://schemas.microsoft.com/office/drawing/2014/main" id="{F07788EB-176E-49A0-9609-902FE54B35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4750280"/>
              </p:ext>
            </p:extLst>
          </p:nvPr>
        </p:nvGraphicFramePr>
        <p:xfrm>
          <a:off x="593725" y="1027322"/>
          <a:ext cx="253838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5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graphicFrame>
        <p:nvGraphicFramePr>
          <p:cNvPr id="19" name="Объект 8">
            <a:extLst>
              <a:ext uri="{FF2B5EF4-FFF2-40B4-BE49-F238E27FC236}">
                <a16:creationId xmlns:a16="http://schemas.microsoft.com/office/drawing/2014/main" id="{1A04B85D-A730-4BAA-9A0E-5689FC89FF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2218020"/>
              </p:ext>
            </p:extLst>
          </p:nvPr>
        </p:nvGraphicFramePr>
        <p:xfrm>
          <a:off x="8910543" y="988269"/>
          <a:ext cx="253838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388">
                  <a:extLst>
                    <a:ext uri="{9D8B030D-6E8A-4147-A177-3AD203B41FA5}">
                      <a16:colId xmlns:a16="http://schemas.microsoft.com/office/drawing/2014/main" val="38138448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Мониторинг 7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194634"/>
                  </a:ext>
                </a:extLst>
              </a:tr>
            </a:tbl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EA2C75D-C596-487C-92DB-5EF2955E28FE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3727" y="2270808"/>
            <a:ext cx="2559029" cy="1062699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D78D8E1-B43C-4C6E-8F65-808E3CE3BE5E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93725" y="4372637"/>
            <a:ext cx="2654240" cy="992906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2725E29-5184-47A6-962C-7FDB03C5D646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3725" y="6286448"/>
            <a:ext cx="2682404" cy="79495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90D9777C-309F-4C33-8F0E-6D59C1DA901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/>
          <a:srcRect l="48818" t="37963" r="14211" b="37772"/>
          <a:stretch/>
        </p:blipFill>
        <p:spPr>
          <a:xfrm>
            <a:off x="9221936" y="2387235"/>
            <a:ext cx="2226490" cy="82157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D52E4FEB-770E-47DA-8240-43F3F21CD984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164399" y="4142925"/>
            <a:ext cx="2254905" cy="1050311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3636169" y="1349948"/>
            <a:ext cx="43924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Исследование </a:t>
            </a:r>
            <a:r>
              <a:rPr lang="en-US" sz="2400" b="1" dirty="0" smtClean="0"/>
              <a:t>PISA</a:t>
            </a:r>
            <a:r>
              <a:rPr lang="ru-RU" sz="2400" b="1" dirty="0" smtClean="0"/>
              <a:t> </a:t>
            </a:r>
            <a:endParaRPr lang="ru-RU" b="1" dirty="0"/>
          </a:p>
        </p:txBody>
      </p:sp>
      <p:sp>
        <p:nvSpPr>
          <p:cNvPr id="37" name="Овал 36"/>
          <p:cNvSpPr/>
          <p:nvPr/>
        </p:nvSpPr>
        <p:spPr>
          <a:xfrm>
            <a:off x="4940293" y="4868081"/>
            <a:ext cx="2319688" cy="10684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низ 37"/>
          <p:cNvSpPr/>
          <p:nvPr/>
        </p:nvSpPr>
        <p:spPr>
          <a:xfrm>
            <a:off x="6355207" y="5840233"/>
            <a:ext cx="404261" cy="67376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низ 38"/>
          <p:cNvSpPr/>
          <p:nvPr/>
        </p:nvSpPr>
        <p:spPr>
          <a:xfrm rot="10800000">
            <a:off x="5400704" y="4404464"/>
            <a:ext cx="404261" cy="5967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6826847" y="4868078"/>
            <a:ext cx="1116530" cy="4427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трелка вправо 40"/>
          <p:cNvSpPr/>
          <p:nvPr/>
        </p:nvSpPr>
        <p:spPr>
          <a:xfrm rot="10800000">
            <a:off x="4091666" y="5058979"/>
            <a:ext cx="981777" cy="4427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5103924" y="5225271"/>
            <a:ext cx="20906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 smtClean="0"/>
              <a:t>Рассуждать</a:t>
            </a:r>
            <a:endParaRPr lang="ru-RU" sz="2400" b="1" i="1" dirty="0"/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A871EDFC-11F6-4D2F-9B24-696E5EF77E1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/>
        </p:blipFill>
        <p:spPr>
          <a:xfrm>
            <a:off x="239879" y="156988"/>
            <a:ext cx="1800887" cy="523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21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40</TotalTime>
  <Words>2132</Words>
  <Application>Microsoft Office PowerPoint</Application>
  <PresentationFormat>Произвольный</PresentationFormat>
  <Paragraphs>296</Paragraphs>
  <Slides>27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8" baseType="lpstr">
      <vt:lpstr>.PingFang SC Regular</vt:lpstr>
      <vt:lpstr>Arial</vt:lpstr>
      <vt:lpstr>Arial Narrow</vt:lpstr>
      <vt:lpstr>Calibri</vt:lpstr>
      <vt:lpstr>Cambria</vt:lpstr>
      <vt:lpstr>Georgia</vt:lpstr>
      <vt:lpstr>Helvetica Neue Medium</vt:lpstr>
      <vt:lpstr>Times New Roman</vt:lpstr>
      <vt:lpstr>Wingdings</vt:lpstr>
      <vt:lpstr>Тема Office</vt:lpstr>
      <vt:lpstr>think-cell Slide</vt:lpstr>
      <vt:lpstr>Презентация PowerPoint</vt:lpstr>
      <vt:lpstr>  Что предпринимается на федеральном уровне в рамках национального проекта «Образование»   </vt:lpstr>
      <vt:lpstr>Презентация PowerPoint</vt:lpstr>
      <vt:lpstr>Разработка национального инструментария  по методологии PISA</vt:lpstr>
      <vt:lpstr>Функциональная грамотность  (основное определение)</vt:lpstr>
      <vt:lpstr>Составляющие функциональной грамотности</vt:lpstr>
      <vt:lpstr>Презентация PowerPoint</vt:lpstr>
      <vt:lpstr>  Функциональная грамотность – способность использовать знания, умения, способы в действии при решении широкого круга задач обнаруживает себя  за пределами учебных ситуаций,  в задачах, не похожих на те, где эти знания, умения, способы приобретались. </vt:lpstr>
      <vt:lpstr>Математическая грамотность</vt:lpstr>
      <vt:lpstr>Особенности диагностической работы </vt:lpstr>
      <vt:lpstr>Пример заданий PISA  на читательскую грамотность</vt:lpstr>
      <vt:lpstr>Характеристики заданий и система оценивания</vt:lpstr>
      <vt:lpstr>Пример оформления заданий в работе</vt:lpstr>
      <vt:lpstr>Пример оформления заданий в работе</vt:lpstr>
      <vt:lpstr>Характеристика заданий</vt:lpstr>
      <vt:lpstr>Характеристика заданий</vt:lpstr>
      <vt:lpstr>Характеристика заданий</vt:lpstr>
      <vt:lpstr>Характеристика заданий</vt:lpstr>
      <vt:lpstr>Характеристика заданий</vt:lpstr>
      <vt:lpstr>Что подготовлено к 2020/2021 учебному году  http://skiv.instrao.ru/bank-zadaniy/finansovaya-gramotnost/</vt:lpstr>
      <vt:lpstr>Проблемы разграничения:  формирование функциональной грамотности и  оценка функциональной грамотности</vt:lpstr>
      <vt:lpstr>Презентация PowerPoint</vt:lpstr>
      <vt:lpstr>График подготовки и проведения исследовательского блока в системе повышения квалификации (1)</vt:lpstr>
      <vt:lpstr>График подготовки и проведения исследовательского блока в системе повышения квалификации (2)</vt:lpstr>
      <vt:lpstr>График подготовки и проведения исследовательского блока в системе повышения квалификации (3)</vt:lpstr>
      <vt:lpstr>График подготовки и проведения исследовательского блока в системе повышения квалификации (4)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Victoria Baranova</dc:creator>
  <cp:lastModifiedBy>User</cp:lastModifiedBy>
  <cp:revision>477</cp:revision>
  <dcterms:created xsi:type="dcterms:W3CDTF">2016-12-10T16:25:45Z</dcterms:created>
  <dcterms:modified xsi:type="dcterms:W3CDTF">2020-11-13T18:33:21Z</dcterms:modified>
</cp:coreProperties>
</file>